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61" r:id="rId1"/>
  </p:sldMasterIdLst>
  <p:notesMasterIdLst>
    <p:notesMasterId r:id="rId56"/>
  </p:notesMasterIdLst>
  <p:handoutMasterIdLst>
    <p:handoutMasterId r:id="rId57"/>
  </p:handoutMasterIdLst>
  <p:sldIdLst>
    <p:sldId id="256" r:id="rId2"/>
    <p:sldId id="1663" r:id="rId3"/>
    <p:sldId id="1695" r:id="rId4"/>
    <p:sldId id="1715" r:id="rId5"/>
    <p:sldId id="1675" r:id="rId6"/>
    <p:sldId id="1690" r:id="rId7"/>
    <p:sldId id="1697" r:id="rId8"/>
    <p:sldId id="1716" r:id="rId9"/>
    <p:sldId id="1717" r:id="rId10"/>
    <p:sldId id="1699" r:id="rId11"/>
    <p:sldId id="1701" r:id="rId12"/>
    <p:sldId id="1674" r:id="rId13"/>
    <p:sldId id="1682" r:id="rId14"/>
    <p:sldId id="1683" r:id="rId15"/>
    <p:sldId id="1678" r:id="rId16"/>
    <p:sldId id="1684" r:id="rId17"/>
    <p:sldId id="1685" r:id="rId18"/>
    <p:sldId id="1700" r:id="rId19"/>
    <p:sldId id="1702" r:id="rId20"/>
    <p:sldId id="1686" r:id="rId21"/>
    <p:sldId id="1707" r:id="rId22"/>
    <p:sldId id="1713" r:id="rId23"/>
    <p:sldId id="1681" r:id="rId24"/>
    <p:sldId id="1703" r:id="rId25"/>
    <p:sldId id="1705" r:id="rId26"/>
    <p:sldId id="1706" r:id="rId27"/>
    <p:sldId id="1687" r:id="rId28"/>
    <p:sldId id="1688" r:id="rId29"/>
    <p:sldId id="1698" r:id="rId30"/>
    <p:sldId id="1667" r:id="rId31"/>
    <p:sldId id="1691" r:id="rId32"/>
    <p:sldId id="1718" r:id="rId33"/>
    <p:sldId id="1719" r:id="rId34"/>
    <p:sldId id="1679" r:id="rId35"/>
    <p:sldId id="1720" r:id="rId36"/>
    <p:sldId id="1680" r:id="rId37"/>
    <p:sldId id="1721" r:id="rId38"/>
    <p:sldId id="1722" r:id="rId39"/>
    <p:sldId id="1723" r:id="rId40"/>
    <p:sldId id="1689" r:id="rId41"/>
    <p:sldId id="1724" r:id="rId42"/>
    <p:sldId id="1696" r:id="rId43"/>
    <p:sldId id="1725" r:id="rId44"/>
    <p:sldId id="1693" r:id="rId45"/>
    <p:sldId id="1694" r:id="rId46"/>
    <p:sldId id="1710" r:id="rId47"/>
    <p:sldId id="1671" r:id="rId48"/>
    <p:sldId id="1708" r:id="rId49"/>
    <p:sldId id="1726" r:id="rId50"/>
    <p:sldId id="1673" r:id="rId51"/>
    <p:sldId id="1714" r:id="rId52"/>
    <p:sldId id="1704" r:id="rId53"/>
    <p:sldId id="1692" r:id="rId54"/>
    <p:sldId id="1727" r:id="rId55"/>
  </p:sldIdLst>
  <p:sldSz cx="12192000" cy="6858000"/>
  <p:notesSz cx="6858000" cy="9144000"/>
  <p:custDataLst>
    <p:tags r:id="rId5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1EAC"/>
    <a:srgbClr val="B80EBC"/>
    <a:srgbClr val="FF6600"/>
    <a:srgbClr val="EDBD95"/>
    <a:srgbClr val="DFC597"/>
    <a:srgbClr val="CDCB99"/>
    <a:srgbClr val="A1A1A1"/>
    <a:srgbClr val="595959"/>
    <a:srgbClr val="C33246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B53795-FC9E-6CAA-AC79-3B40F6FA69E6}" v="12" dt="2023-12-14T06:40:45.872"/>
    <p1510:client id="{29F5D655-F79A-8F8A-9059-FEB13BA4E728}" v="1" dt="2023-12-14T08:14:07.390"/>
    <p1510:client id="{4348FCE9-927A-306E-9DB0-7027C890D4E7}" v="338" dt="2023-12-14T07:27:08.782"/>
    <p1510:client id="{69DA9F9D-31B9-126D-A036-2652B77169DF}" v="9" dt="2023-12-14T06:47:34.264"/>
    <p1510:client id="{B6E96D4F-F122-6076-9EC7-29F73E33A9C8}" v="8" dt="2023-12-14T07:45:20.012"/>
    <p1510:client id="{BF10374F-304B-4AEF-AFF9-1CA7646212C9}" v="2" dt="2023-12-14T08:06:38.983"/>
    <p1510:client id="{D6CADB73-1C21-1C44-D18A-8B4D3DE1C1C2}" v="10" dt="2023-12-14T07:52:35.5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72"/>
  </p:normalViewPr>
  <p:slideViewPr>
    <p:cSldViewPr snapToGrid="0">
      <p:cViewPr varScale="1">
        <p:scale>
          <a:sx n="92" d="100"/>
          <a:sy n="92" d="100"/>
        </p:scale>
        <p:origin x="312" y="3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microsoft.com/office/2016/11/relationships/changesInfo" Target="changesInfos/changesInfo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64" Type="http://schemas.microsoft.com/office/2015/10/relationships/revisionInfo" Target="revisionInfo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65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ndarrajan Chandrasekaran" userId="S::s0c0cqw@homeoffice.wal-mart.com::3d326fe3-df69-423b-bf87-79950f2f8c72" providerId="AD" clId="Web-{D6CADB73-1C21-1C44-D18A-8B4D3DE1C1C2}"/>
    <pc:docChg chg="modSld">
      <pc:chgData name="Sundarrajan Chandrasekaran" userId="S::s0c0cqw@homeoffice.wal-mart.com::3d326fe3-df69-423b-bf87-79950f2f8c72" providerId="AD" clId="Web-{D6CADB73-1C21-1C44-D18A-8B4D3DE1C1C2}" dt="2023-12-14T07:52:35.463" v="7" actId="20577"/>
      <pc:docMkLst>
        <pc:docMk/>
      </pc:docMkLst>
      <pc:sldChg chg="addSp delSp modSp">
        <pc:chgData name="Sundarrajan Chandrasekaran" userId="S::s0c0cqw@homeoffice.wal-mart.com::3d326fe3-df69-423b-bf87-79950f2f8c72" providerId="AD" clId="Web-{D6CADB73-1C21-1C44-D18A-8B4D3DE1C1C2}" dt="2023-12-14T07:52:35.463" v="7" actId="20577"/>
        <pc:sldMkLst>
          <pc:docMk/>
          <pc:sldMk cId="1373190608" sldId="1706"/>
        </pc:sldMkLst>
        <pc:spChg chg="mod">
          <ac:chgData name="Sundarrajan Chandrasekaran" userId="S::s0c0cqw@homeoffice.wal-mart.com::3d326fe3-df69-423b-bf87-79950f2f8c72" providerId="AD" clId="Web-{D6CADB73-1C21-1C44-D18A-8B4D3DE1C1C2}" dt="2023-12-14T07:52:35.463" v="7" actId="20577"/>
          <ac:spMkLst>
            <pc:docMk/>
            <pc:sldMk cId="1373190608" sldId="1706"/>
            <ac:spMk id="3" creationId="{5499C250-2343-E9F8-8896-A8409126D41F}"/>
          </ac:spMkLst>
        </pc:spChg>
        <pc:picChg chg="del">
          <ac:chgData name="Sundarrajan Chandrasekaran" userId="S::s0c0cqw@homeoffice.wal-mart.com::3d326fe3-df69-423b-bf87-79950f2f8c72" providerId="AD" clId="Web-{D6CADB73-1C21-1C44-D18A-8B4D3DE1C1C2}" dt="2023-12-14T07:52:16.118" v="0"/>
          <ac:picMkLst>
            <pc:docMk/>
            <pc:sldMk cId="1373190608" sldId="1706"/>
            <ac:picMk id="5" creationId="{A285D4E0-C491-1285-901C-9B3CDE05173A}"/>
          </ac:picMkLst>
        </pc:picChg>
        <pc:picChg chg="add mod">
          <ac:chgData name="Sundarrajan Chandrasekaran" userId="S::s0c0cqw@homeoffice.wal-mart.com::3d326fe3-df69-423b-bf87-79950f2f8c72" providerId="AD" clId="Web-{D6CADB73-1C21-1C44-D18A-8B4D3DE1C1C2}" dt="2023-12-14T07:52:27.400" v="5" actId="14100"/>
          <ac:picMkLst>
            <pc:docMk/>
            <pc:sldMk cId="1373190608" sldId="1706"/>
            <ac:picMk id="6" creationId="{6B17572A-9BAE-C839-6EC4-F1558D819295}"/>
          </ac:picMkLst>
        </pc:picChg>
      </pc:sldChg>
    </pc:docChg>
  </pc:docChgLst>
  <pc:docChgLst>
    <pc:chgData name="Sathishkumar P H" userId="5400d742-a2e7-40db-9ac9-ce87a083960c" providerId="ADAL" clId="{BF10374F-304B-4AEF-AFF9-1CA7646212C9}"/>
    <pc:docChg chg="delSld modSld sldOrd">
      <pc:chgData name="Sathishkumar P H" userId="5400d742-a2e7-40db-9ac9-ce87a083960c" providerId="ADAL" clId="{BF10374F-304B-4AEF-AFF9-1CA7646212C9}" dt="2023-12-14T08:09:13.731" v="5"/>
      <pc:docMkLst>
        <pc:docMk/>
      </pc:docMkLst>
      <pc:sldChg chg="modSp">
        <pc:chgData name="Sathishkumar P H" userId="5400d742-a2e7-40db-9ac9-ce87a083960c" providerId="ADAL" clId="{BF10374F-304B-4AEF-AFF9-1CA7646212C9}" dt="2023-12-14T08:06:38.982" v="1" actId="20577"/>
        <pc:sldMkLst>
          <pc:docMk/>
          <pc:sldMk cId="4013646887" sldId="1675"/>
        </pc:sldMkLst>
        <pc:graphicFrameChg chg="mod">
          <ac:chgData name="Sathishkumar P H" userId="5400d742-a2e7-40db-9ac9-ce87a083960c" providerId="ADAL" clId="{BF10374F-304B-4AEF-AFF9-1CA7646212C9}" dt="2023-12-14T08:06:38.982" v="1" actId="20577"/>
          <ac:graphicFrameMkLst>
            <pc:docMk/>
            <pc:sldMk cId="4013646887" sldId="1675"/>
            <ac:graphicFrameMk id="8" creationId="{8A5E3D75-983E-10FC-2A89-8158F3E7C80F}"/>
          </ac:graphicFrameMkLst>
        </pc:graphicFrameChg>
      </pc:sldChg>
      <pc:sldChg chg="modSp mod ord">
        <pc:chgData name="Sathishkumar P H" userId="5400d742-a2e7-40db-9ac9-ce87a083960c" providerId="ADAL" clId="{BF10374F-304B-4AEF-AFF9-1CA7646212C9}" dt="2023-12-14T08:09:13.731" v="5"/>
        <pc:sldMkLst>
          <pc:docMk/>
          <pc:sldMk cId="4105792690" sldId="1695"/>
        </pc:sldMkLst>
        <pc:spChg chg="mod">
          <ac:chgData name="Sathishkumar P H" userId="5400d742-a2e7-40db-9ac9-ce87a083960c" providerId="ADAL" clId="{BF10374F-304B-4AEF-AFF9-1CA7646212C9}" dt="2023-12-14T08:06:58.632" v="2" actId="20577"/>
          <ac:spMkLst>
            <pc:docMk/>
            <pc:sldMk cId="4105792690" sldId="1695"/>
            <ac:spMk id="2" creationId="{F0B20CA0-B811-5EC1-D77C-9C9CCE55F33C}"/>
          </ac:spMkLst>
        </pc:spChg>
      </pc:sldChg>
      <pc:sldChg chg="del">
        <pc:chgData name="Sathishkumar P H" userId="5400d742-a2e7-40db-9ac9-ce87a083960c" providerId="ADAL" clId="{BF10374F-304B-4AEF-AFF9-1CA7646212C9}" dt="2023-12-14T08:08:43.045" v="3" actId="47"/>
        <pc:sldMkLst>
          <pc:docMk/>
          <pc:sldMk cId="3751606153" sldId="1709"/>
        </pc:sldMkLst>
      </pc:sldChg>
    </pc:docChg>
  </pc:docChgLst>
  <pc:docChgLst>
    <pc:chgData name="Nelson Prabhu" userId="S::n0p02ki@homeoffice.wal-mart.com::35ea101f-8b12-4249-93b8-481d99db682a" providerId="AD" clId="Web-{B6E96D4F-F122-6076-9EC7-29F73E33A9C8}"/>
    <pc:docChg chg="modSld">
      <pc:chgData name="Nelson Prabhu" userId="S::n0p02ki@homeoffice.wal-mart.com::35ea101f-8b12-4249-93b8-481d99db682a" providerId="AD" clId="Web-{B6E96D4F-F122-6076-9EC7-29F73E33A9C8}" dt="2023-12-14T07:45:20.012" v="6" actId="1076"/>
      <pc:docMkLst>
        <pc:docMk/>
      </pc:docMkLst>
      <pc:sldChg chg="addSp delSp modSp">
        <pc:chgData name="Nelson Prabhu" userId="S::n0p02ki@homeoffice.wal-mart.com::35ea101f-8b12-4249-93b8-481d99db682a" providerId="AD" clId="Web-{B6E96D4F-F122-6076-9EC7-29F73E33A9C8}" dt="2023-12-14T07:45:20.012" v="6" actId="1076"/>
        <pc:sldMkLst>
          <pc:docMk/>
          <pc:sldMk cId="173762979" sldId="1674"/>
        </pc:sldMkLst>
        <pc:picChg chg="add mod">
          <ac:chgData name="Nelson Prabhu" userId="S::n0p02ki@homeoffice.wal-mart.com::35ea101f-8b12-4249-93b8-481d99db682a" providerId="AD" clId="Web-{B6E96D4F-F122-6076-9EC7-29F73E33A9C8}" dt="2023-12-14T07:45:20.012" v="6" actId="1076"/>
          <ac:picMkLst>
            <pc:docMk/>
            <pc:sldMk cId="173762979" sldId="1674"/>
            <ac:picMk id="2" creationId="{22000479-EB53-B308-E323-221DF1C1405D}"/>
          </ac:picMkLst>
        </pc:picChg>
        <pc:picChg chg="del">
          <ac:chgData name="Nelson Prabhu" userId="S::n0p02ki@homeoffice.wal-mart.com::35ea101f-8b12-4249-93b8-481d99db682a" providerId="AD" clId="Web-{B6E96D4F-F122-6076-9EC7-29F73E33A9C8}" dt="2023-12-14T07:44:40.370" v="0"/>
          <ac:picMkLst>
            <pc:docMk/>
            <pc:sldMk cId="173762979" sldId="1674"/>
            <ac:picMk id="4" creationId="{D14C47BF-35DF-67F1-AE39-B466D7C06842}"/>
          </ac:picMkLst>
        </pc:picChg>
      </pc:sldChg>
    </pc:docChg>
  </pc:docChgLst>
  <pc:docChgLst>
    <pc:chgData name="Rajesh R" userId="S::r0r063r@homeoffice.wal-mart.com::3ee355b2-4049-4a60-90e7-b6eedbbc9e07" providerId="AD" clId="Web-{29F5D655-F79A-8F8A-9059-FEB13BA4E728}"/>
    <pc:docChg chg="addSld">
      <pc:chgData name="Rajesh R" userId="S::r0r063r@homeoffice.wal-mart.com::3ee355b2-4049-4a60-90e7-b6eedbbc9e07" providerId="AD" clId="Web-{29F5D655-F79A-8F8A-9059-FEB13BA4E728}" dt="2023-12-14T08:14:07.390" v="0"/>
      <pc:docMkLst>
        <pc:docMk/>
      </pc:docMkLst>
      <pc:sldChg chg="add">
        <pc:chgData name="Rajesh R" userId="S::r0r063r@homeoffice.wal-mart.com::3ee355b2-4049-4a60-90e7-b6eedbbc9e07" providerId="AD" clId="Web-{29F5D655-F79A-8F8A-9059-FEB13BA4E728}" dt="2023-12-14T08:14:07.390" v="0"/>
        <pc:sldMkLst>
          <pc:docMk/>
          <pc:sldMk cId="808557965" sldId="1715"/>
        </pc:sldMkLst>
      </pc:sldChg>
    </pc:docChg>
  </pc:docChgLst>
  <pc:docChgLst>
    <pc:chgData name="Nelson Prabhu" userId="S::n0p02ki@homeoffice.wal-mart.com::35ea101f-8b12-4249-93b8-481d99db682a" providerId="AD" clId="Web-{4348FCE9-927A-306E-9DB0-7027C890D4E7}"/>
    <pc:docChg chg="addSld delSld modSld">
      <pc:chgData name="Nelson Prabhu" userId="S::n0p02ki@homeoffice.wal-mart.com::35ea101f-8b12-4249-93b8-481d99db682a" providerId="AD" clId="Web-{4348FCE9-927A-306E-9DB0-7027C890D4E7}" dt="2023-12-14T07:27:08.782" v="339" actId="20577"/>
      <pc:docMkLst>
        <pc:docMk/>
      </pc:docMkLst>
      <pc:sldChg chg="addSp delSp modSp del">
        <pc:chgData name="Nelson Prabhu" userId="S::n0p02ki@homeoffice.wal-mart.com::35ea101f-8b12-4249-93b8-481d99db682a" providerId="AD" clId="Web-{4348FCE9-927A-306E-9DB0-7027C890D4E7}" dt="2023-12-14T07:21:05.664" v="330"/>
        <pc:sldMkLst>
          <pc:docMk/>
          <pc:sldMk cId="2772439979" sldId="1711"/>
        </pc:sldMkLst>
        <pc:spChg chg="mod">
          <ac:chgData name="Nelson Prabhu" userId="S::n0p02ki@homeoffice.wal-mart.com::35ea101f-8b12-4249-93b8-481d99db682a" providerId="AD" clId="Web-{4348FCE9-927A-306E-9DB0-7027C890D4E7}" dt="2023-12-14T07:01:04.417" v="170" actId="14100"/>
          <ac:spMkLst>
            <pc:docMk/>
            <pc:sldMk cId="2772439979" sldId="1711"/>
            <ac:spMk id="3" creationId="{D6257E69-5C6F-4647-9B76-C9A55E82128D}"/>
          </ac:spMkLst>
        </pc:spChg>
        <pc:picChg chg="add mod">
          <ac:chgData name="Nelson Prabhu" userId="S::n0p02ki@homeoffice.wal-mart.com::35ea101f-8b12-4249-93b8-481d99db682a" providerId="AD" clId="Web-{4348FCE9-927A-306E-9DB0-7027C890D4E7}" dt="2023-12-14T06:54:16.938" v="35" actId="14100"/>
          <ac:picMkLst>
            <pc:docMk/>
            <pc:sldMk cId="2772439979" sldId="1711"/>
            <ac:picMk id="5" creationId="{9524021B-FBF6-AF4A-AE65-8024AD541CE2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6:56:08.175" v="50" actId="1076"/>
          <ac:picMkLst>
            <pc:docMk/>
            <pc:sldMk cId="2772439979" sldId="1711"/>
            <ac:picMk id="6" creationId="{DCF4B0F0-698F-3BAB-D187-6E2EB48B75E2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6:56:51.848" v="58" actId="14100"/>
          <ac:picMkLst>
            <pc:docMk/>
            <pc:sldMk cId="2772439979" sldId="1711"/>
            <ac:picMk id="7" creationId="{71B2AD1C-E9F2-D0BC-052B-B664954D52DF}"/>
          </ac:picMkLst>
        </pc:picChg>
        <pc:picChg chg="del mod">
          <ac:chgData name="Nelson Prabhu" userId="S::n0p02ki@homeoffice.wal-mart.com::35ea101f-8b12-4249-93b8-481d99db682a" providerId="AD" clId="Web-{4348FCE9-927A-306E-9DB0-7027C890D4E7}" dt="2023-12-14T06:54:55.580" v="36"/>
          <ac:picMkLst>
            <pc:docMk/>
            <pc:sldMk cId="2772439979" sldId="1711"/>
            <ac:picMk id="8" creationId="{11004439-F461-895C-2FBF-41218F2F078B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7:02:16.184" v="182" actId="14100"/>
          <ac:picMkLst>
            <pc:docMk/>
            <pc:sldMk cId="2772439979" sldId="1711"/>
            <ac:picMk id="9" creationId="{A1876BA7-6022-0225-315E-2E28B0A392F2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7:03:03.091" v="188" actId="1076"/>
          <ac:picMkLst>
            <pc:docMk/>
            <pc:sldMk cId="2772439979" sldId="1711"/>
            <ac:picMk id="10" creationId="{47AC582D-4A4A-5551-71F8-330621E5572A}"/>
          </ac:picMkLst>
        </pc:picChg>
        <pc:picChg chg="del mod">
          <ac:chgData name="Nelson Prabhu" userId="S::n0p02ki@homeoffice.wal-mart.com::35ea101f-8b12-4249-93b8-481d99db682a" providerId="AD" clId="Web-{4348FCE9-927A-306E-9DB0-7027C890D4E7}" dt="2023-12-14T06:52:42.358" v="19"/>
          <ac:picMkLst>
            <pc:docMk/>
            <pc:sldMk cId="2772439979" sldId="1711"/>
            <ac:picMk id="11" creationId="{07574955-7C79-4F39-97FC-16AEE454BEDB}"/>
          </ac:picMkLst>
        </pc:picChg>
        <pc:picChg chg="del mod">
          <ac:chgData name="Nelson Prabhu" userId="S::n0p02ki@homeoffice.wal-mart.com::35ea101f-8b12-4249-93b8-481d99db682a" providerId="AD" clId="Web-{4348FCE9-927A-306E-9DB0-7027C890D4E7}" dt="2023-12-14T06:55:31.487" v="48"/>
          <ac:picMkLst>
            <pc:docMk/>
            <pc:sldMk cId="2772439979" sldId="1711"/>
            <ac:picMk id="13" creationId="{9231AE31-2A76-DFB1-1124-29A7186D12D8}"/>
          </ac:picMkLst>
        </pc:picChg>
        <pc:picChg chg="mod">
          <ac:chgData name="Nelson Prabhu" userId="S::n0p02ki@homeoffice.wal-mart.com::35ea101f-8b12-4249-93b8-481d99db682a" providerId="AD" clId="Web-{4348FCE9-927A-306E-9DB0-7027C890D4E7}" dt="2023-12-14T07:03:05.373" v="189" actId="1076"/>
          <ac:picMkLst>
            <pc:docMk/>
            <pc:sldMk cId="2772439979" sldId="1711"/>
            <ac:picMk id="15" creationId="{CC4DC972-F4CE-6BEF-E217-47916657B266}"/>
          </ac:picMkLst>
        </pc:picChg>
        <pc:picChg chg="mod">
          <ac:chgData name="Nelson Prabhu" userId="S::n0p02ki@homeoffice.wal-mart.com::35ea101f-8b12-4249-93b8-481d99db682a" providerId="AD" clId="Web-{4348FCE9-927A-306E-9DB0-7027C890D4E7}" dt="2023-12-14T07:03:12.482" v="191" actId="14100"/>
          <ac:picMkLst>
            <pc:docMk/>
            <pc:sldMk cId="2772439979" sldId="1711"/>
            <ac:picMk id="17" creationId="{833A947A-1D4D-0514-80D2-B6F265F154C8}"/>
          </ac:picMkLst>
        </pc:picChg>
        <pc:picChg chg="mod">
          <ac:chgData name="Nelson Prabhu" userId="S::n0p02ki@homeoffice.wal-mart.com::35ea101f-8b12-4249-93b8-481d99db682a" providerId="AD" clId="Web-{4348FCE9-927A-306E-9DB0-7027C890D4E7}" dt="2023-12-14T07:03:37.780" v="195" actId="1076"/>
          <ac:picMkLst>
            <pc:docMk/>
            <pc:sldMk cId="2772439979" sldId="1711"/>
            <ac:picMk id="19" creationId="{3D154F22-FCC2-05D4-EE5D-44423A4B7907}"/>
          </ac:picMkLst>
        </pc:picChg>
        <pc:picChg chg="del mod">
          <ac:chgData name="Nelson Prabhu" userId="S::n0p02ki@homeoffice.wal-mart.com::35ea101f-8b12-4249-93b8-481d99db682a" providerId="AD" clId="Web-{4348FCE9-927A-306E-9DB0-7027C890D4E7}" dt="2023-12-14T07:02:19.793" v="183"/>
          <ac:picMkLst>
            <pc:docMk/>
            <pc:sldMk cId="2772439979" sldId="1711"/>
            <ac:picMk id="23" creationId="{9A745325-60CB-74B4-6D65-B091523CAB4A}"/>
          </ac:picMkLst>
        </pc:picChg>
        <pc:picChg chg="mod">
          <ac:chgData name="Nelson Prabhu" userId="S::n0p02ki@homeoffice.wal-mart.com::35ea101f-8b12-4249-93b8-481d99db682a" providerId="AD" clId="Web-{4348FCE9-927A-306E-9DB0-7027C890D4E7}" dt="2023-12-14T07:01:12.854" v="171" actId="1076"/>
          <ac:picMkLst>
            <pc:docMk/>
            <pc:sldMk cId="2772439979" sldId="1711"/>
            <ac:picMk id="27" creationId="{AF92989E-ECA0-A64D-907B-FC867AD972FF}"/>
          </ac:picMkLst>
        </pc:picChg>
        <pc:picChg chg="mod">
          <ac:chgData name="Nelson Prabhu" userId="S::n0p02ki@homeoffice.wal-mart.com::35ea101f-8b12-4249-93b8-481d99db682a" providerId="AD" clId="Web-{4348FCE9-927A-306E-9DB0-7027C890D4E7}" dt="2023-12-14T07:01:16.292" v="172" actId="1076"/>
          <ac:picMkLst>
            <pc:docMk/>
            <pc:sldMk cId="2772439979" sldId="1711"/>
            <ac:picMk id="31" creationId="{1299CB94-0DF8-F874-0549-65891D001D13}"/>
          </ac:picMkLst>
        </pc:picChg>
        <pc:picChg chg="del mod">
          <ac:chgData name="Nelson Prabhu" userId="S::n0p02ki@homeoffice.wal-mart.com::35ea101f-8b12-4249-93b8-481d99db682a" providerId="AD" clId="Web-{4348FCE9-927A-306E-9DB0-7027C890D4E7}" dt="2023-12-14T07:01:45.183" v="174"/>
          <ac:picMkLst>
            <pc:docMk/>
            <pc:sldMk cId="2772439979" sldId="1711"/>
            <ac:picMk id="35" creationId="{4520D1F6-0664-B46B-0582-A9FC4126C6A4}"/>
          </ac:picMkLst>
        </pc:picChg>
        <pc:picChg chg="mod">
          <ac:chgData name="Nelson Prabhu" userId="S::n0p02ki@homeoffice.wal-mart.com::35ea101f-8b12-4249-93b8-481d99db682a" providerId="AD" clId="Web-{4348FCE9-927A-306E-9DB0-7027C890D4E7}" dt="2023-12-14T06:59:54.946" v="149" actId="1076"/>
          <ac:picMkLst>
            <pc:docMk/>
            <pc:sldMk cId="2772439979" sldId="1711"/>
            <ac:picMk id="39" creationId="{B8F5B166-92B0-0CBA-B1C2-CDEEE9F34CEF}"/>
          </ac:picMkLst>
        </pc:picChg>
      </pc:sldChg>
      <pc:sldChg chg="addSp delSp modSp add replId">
        <pc:chgData name="Nelson Prabhu" userId="S::n0p02ki@homeoffice.wal-mart.com::35ea101f-8b12-4249-93b8-481d99db682a" providerId="AD" clId="Web-{4348FCE9-927A-306E-9DB0-7027C890D4E7}" dt="2023-12-14T07:27:08.782" v="339" actId="20577"/>
        <pc:sldMkLst>
          <pc:docMk/>
          <pc:sldMk cId="999568638" sldId="1714"/>
        </pc:sldMkLst>
        <pc:spChg chg="mod">
          <ac:chgData name="Nelson Prabhu" userId="S::n0p02ki@homeoffice.wal-mart.com::35ea101f-8b12-4249-93b8-481d99db682a" providerId="AD" clId="Web-{4348FCE9-927A-306E-9DB0-7027C890D4E7}" dt="2023-12-14T07:27:08.782" v="339" actId="20577"/>
          <ac:spMkLst>
            <pc:docMk/>
            <pc:sldMk cId="999568638" sldId="1714"/>
            <ac:spMk id="3" creationId="{D6257E69-5C6F-4647-9B76-C9A55E82128D}"/>
          </ac:spMkLst>
        </pc:spChg>
        <pc:picChg chg="mod">
          <ac:chgData name="Nelson Prabhu" userId="S::n0p02ki@homeoffice.wal-mart.com::35ea101f-8b12-4249-93b8-481d99db682a" providerId="AD" clId="Web-{4348FCE9-927A-306E-9DB0-7027C890D4E7}" dt="2023-12-14T07:12:14.042" v="235" actId="1076"/>
          <ac:picMkLst>
            <pc:docMk/>
            <pc:sldMk cId="999568638" sldId="1714"/>
            <ac:picMk id="5" creationId="{9524021B-FBF6-AF4A-AE65-8024AD541CE2}"/>
          </ac:picMkLst>
        </pc:picChg>
        <pc:picChg chg="mod">
          <ac:chgData name="Nelson Prabhu" userId="S::n0p02ki@homeoffice.wal-mart.com::35ea101f-8b12-4249-93b8-481d99db682a" providerId="AD" clId="Web-{4348FCE9-927A-306E-9DB0-7027C890D4E7}" dt="2023-12-14T07:12:12.214" v="234" actId="1076"/>
          <ac:picMkLst>
            <pc:docMk/>
            <pc:sldMk cId="999568638" sldId="1714"/>
            <ac:picMk id="6" creationId="{DCF4B0F0-698F-3BAB-D187-6E2EB48B75E2}"/>
          </ac:picMkLst>
        </pc:picChg>
        <pc:picChg chg="mod">
          <ac:chgData name="Nelson Prabhu" userId="S::n0p02ki@homeoffice.wal-mart.com::35ea101f-8b12-4249-93b8-481d99db682a" providerId="AD" clId="Web-{4348FCE9-927A-306E-9DB0-7027C890D4E7}" dt="2023-12-14T07:12:09.589" v="233" actId="1076"/>
          <ac:picMkLst>
            <pc:docMk/>
            <pc:sldMk cId="999568638" sldId="1714"/>
            <ac:picMk id="7" creationId="{71B2AD1C-E9F2-D0BC-052B-B664954D52DF}"/>
          </ac:picMkLst>
        </pc:picChg>
        <pc:picChg chg="del">
          <ac:chgData name="Nelson Prabhu" userId="S::n0p02ki@homeoffice.wal-mart.com::35ea101f-8b12-4249-93b8-481d99db682a" providerId="AD" clId="Web-{4348FCE9-927A-306E-9DB0-7027C890D4E7}" dt="2023-12-14T07:11:14.931" v="199"/>
          <ac:picMkLst>
            <pc:docMk/>
            <pc:sldMk cId="999568638" sldId="1714"/>
            <ac:picMk id="9" creationId="{A1876BA7-6022-0225-315E-2E28B0A392F2}"/>
          </ac:picMkLst>
        </pc:picChg>
        <pc:picChg chg="del">
          <ac:chgData name="Nelson Prabhu" userId="S::n0p02ki@homeoffice.wal-mart.com::35ea101f-8b12-4249-93b8-481d99db682a" providerId="AD" clId="Web-{4348FCE9-927A-306E-9DB0-7027C890D4E7}" dt="2023-12-14T07:11:22.697" v="205"/>
          <ac:picMkLst>
            <pc:docMk/>
            <pc:sldMk cId="999568638" sldId="1714"/>
            <ac:picMk id="10" creationId="{47AC582D-4A4A-5551-71F8-330621E5572A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7:15:04.593" v="246" actId="1076"/>
          <ac:picMkLst>
            <pc:docMk/>
            <pc:sldMk cId="999568638" sldId="1714"/>
            <ac:picMk id="11" creationId="{676F39EB-DC97-0F5A-68E0-289D7F1C011D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7:15:00.265" v="245" actId="1076"/>
          <ac:picMkLst>
            <pc:docMk/>
            <pc:sldMk cId="999568638" sldId="1714"/>
            <ac:picMk id="13" creationId="{D34C8300-7686-48F4-19F5-5945CA70569A}"/>
          </ac:picMkLst>
        </pc:picChg>
        <pc:picChg chg="del">
          <ac:chgData name="Nelson Prabhu" userId="S::n0p02ki@homeoffice.wal-mart.com::35ea101f-8b12-4249-93b8-481d99db682a" providerId="AD" clId="Web-{4348FCE9-927A-306E-9DB0-7027C890D4E7}" dt="2023-12-14T07:11:19.353" v="202"/>
          <ac:picMkLst>
            <pc:docMk/>
            <pc:sldMk cId="999568638" sldId="1714"/>
            <ac:picMk id="15" creationId="{CC4DC972-F4CE-6BEF-E217-47916657B266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7:14:54.389" v="243" actId="1076"/>
          <ac:picMkLst>
            <pc:docMk/>
            <pc:sldMk cId="999568638" sldId="1714"/>
            <ac:picMk id="16" creationId="{17316286-BA20-8430-705B-254C611B1EB9}"/>
          </ac:picMkLst>
        </pc:picChg>
        <pc:picChg chg="del">
          <ac:chgData name="Nelson Prabhu" userId="S::n0p02ki@homeoffice.wal-mart.com::35ea101f-8b12-4249-93b8-481d99db682a" providerId="AD" clId="Web-{4348FCE9-927A-306E-9DB0-7027C890D4E7}" dt="2023-12-14T07:11:20.509" v="203"/>
          <ac:picMkLst>
            <pc:docMk/>
            <pc:sldMk cId="999568638" sldId="1714"/>
            <ac:picMk id="17" creationId="{833A947A-1D4D-0514-80D2-B6F265F154C8}"/>
          </ac:picMkLst>
        </pc:picChg>
        <pc:picChg chg="del">
          <ac:chgData name="Nelson Prabhu" userId="S::n0p02ki@homeoffice.wal-mart.com::35ea101f-8b12-4249-93b8-481d99db682a" providerId="AD" clId="Web-{4348FCE9-927A-306E-9DB0-7027C890D4E7}" dt="2023-12-14T07:11:21.384" v="204"/>
          <ac:picMkLst>
            <pc:docMk/>
            <pc:sldMk cId="999568638" sldId="1714"/>
            <ac:picMk id="19" creationId="{3D154F22-FCC2-05D4-EE5D-44423A4B7907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7:16:22.329" v="282" actId="14100"/>
          <ac:picMkLst>
            <pc:docMk/>
            <pc:sldMk cId="999568638" sldId="1714"/>
            <ac:picMk id="20" creationId="{291BC3EE-2CF0-AEE3-5373-38D3E9806403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7:15:52.203" v="275" actId="1076"/>
          <ac:picMkLst>
            <pc:docMk/>
            <pc:sldMk cId="999568638" sldId="1714"/>
            <ac:picMk id="22" creationId="{29B61567-7AC3-C376-9171-C7B566B7FA63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7:16:11.751" v="279" actId="1076"/>
          <ac:picMkLst>
            <pc:docMk/>
            <pc:sldMk cId="999568638" sldId="1714"/>
            <ac:picMk id="24" creationId="{5412855A-35C8-667B-0CA1-9D6FA8073B19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7:16:49.595" v="307" actId="1076"/>
          <ac:picMkLst>
            <pc:docMk/>
            <pc:sldMk cId="999568638" sldId="1714"/>
            <ac:picMk id="26" creationId="{2C68E379-6005-1F4A-AA90-A1522F96DE11}"/>
          </ac:picMkLst>
        </pc:picChg>
        <pc:picChg chg="del">
          <ac:chgData name="Nelson Prabhu" userId="S::n0p02ki@homeoffice.wal-mart.com::35ea101f-8b12-4249-93b8-481d99db682a" providerId="AD" clId="Web-{4348FCE9-927A-306E-9DB0-7027C890D4E7}" dt="2023-12-14T07:11:18.134" v="201"/>
          <ac:picMkLst>
            <pc:docMk/>
            <pc:sldMk cId="999568638" sldId="1714"/>
            <ac:picMk id="27" creationId="{AF92989E-ECA0-A64D-907B-FC867AD972FF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7:16:58.892" v="309" actId="1076"/>
          <ac:picMkLst>
            <pc:docMk/>
            <pc:sldMk cId="999568638" sldId="1714"/>
            <ac:picMk id="29" creationId="{0E1A658B-7513-193B-2E56-FF17D19B6378}"/>
          </ac:picMkLst>
        </pc:picChg>
        <pc:picChg chg="add mod">
          <ac:chgData name="Nelson Prabhu" userId="S::n0p02ki@homeoffice.wal-mart.com::35ea101f-8b12-4249-93b8-481d99db682a" providerId="AD" clId="Web-{4348FCE9-927A-306E-9DB0-7027C890D4E7}" dt="2023-12-14T07:18:27.004" v="329" actId="1076"/>
          <ac:picMkLst>
            <pc:docMk/>
            <pc:sldMk cId="999568638" sldId="1714"/>
            <ac:picMk id="30" creationId="{7D51582E-C8CC-38CB-D554-B80718DAF91B}"/>
          </ac:picMkLst>
        </pc:picChg>
        <pc:picChg chg="del">
          <ac:chgData name="Nelson Prabhu" userId="S::n0p02ki@homeoffice.wal-mart.com::35ea101f-8b12-4249-93b8-481d99db682a" providerId="AD" clId="Web-{4348FCE9-927A-306E-9DB0-7027C890D4E7}" dt="2023-12-14T07:11:16.791" v="200"/>
          <ac:picMkLst>
            <pc:docMk/>
            <pc:sldMk cId="999568638" sldId="1714"/>
            <ac:picMk id="31" creationId="{1299CB94-0DF8-F874-0549-65891D001D13}"/>
          </ac:picMkLst>
        </pc:picChg>
        <pc:picChg chg="del">
          <ac:chgData name="Nelson Prabhu" userId="S::n0p02ki@homeoffice.wal-mart.com::35ea101f-8b12-4249-93b8-481d99db682a" providerId="AD" clId="Web-{4348FCE9-927A-306E-9DB0-7027C890D4E7}" dt="2023-12-14T07:11:23.869" v="206"/>
          <ac:picMkLst>
            <pc:docMk/>
            <pc:sldMk cId="999568638" sldId="1714"/>
            <ac:picMk id="39" creationId="{B8F5B166-92B0-0CBA-B1C2-CDEEE9F34CEF}"/>
          </ac:picMkLst>
        </pc:picChg>
      </pc:sldChg>
    </pc:docChg>
  </pc:docChgLst>
  <pc:docChgLst>
    <pc:chgData name="Sree Hari B" userId="S::s1b08vu@homeoffice.wal-mart.com::65f54a6a-9fe0-4737-978f-2a83e67b0500" providerId="AD" clId="Web-{0EB53795-FC9E-6CAA-AC79-3B40F6FA69E6}"/>
    <pc:docChg chg="addSld delSld modSld">
      <pc:chgData name="Sree Hari B" userId="S::s1b08vu@homeoffice.wal-mart.com::65f54a6a-9fe0-4737-978f-2a83e67b0500" providerId="AD" clId="Web-{0EB53795-FC9E-6CAA-AC79-3B40F6FA69E6}" dt="2023-12-14T06:40:45.872" v="10"/>
      <pc:docMkLst>
        <pc:docMk/>
      </pc:docMkLst>
      <pc:sldChg chg="addSp modSp">
        <pc:chgData name="Sree Hari B" userId="S::s1b08vu@homeoffice.wal-mart.com::65f54a6a-9fe0-4737-978f-2a83e67b0500" providerId="AD" clId="Web-{0EB53795-FC9E-6CAA-AC79-3B40F6FA69E6}" dt="2023-12-14T06:40:00.980" v="7" actId="14100"/>
        <pc:sldMkLst>
          <pc:docMk/>
          <pc:sldMk cId="4147075199" sldId="1707"/>
        </pc:sldMkLst>
        <pc:spChg chg="mod">
          <ac:chgData name="Sree Hari B" userId="S::s1b08vu@homeoffice.wal-mart.com::65f54a6a-9fe0-4737-978f-2a83e67b0500" providerId="AD" clId="Web-{0EB53795-FC9E-6CAA-AC79-3B40F6FA69E6}" dt="2023-12-14T06:39:37.057" v="2" actId="14100"/>
          <ac:spMkLst>
            <pc:docMk/>
            <pc:sldMk cId="4147075199" sldId="1707"/>
            <ac:spMk id="2" creationId="{E84029BA-2460-7E01-CC55-95FADDA2A0A2}"/>
          </ac:spMkLst>
        </pc:spChg>
        <pc:picChg chg="add mod">
          <ac:chgData name="Sree Hari B" userId="S::s1b08vu@homeoffice.wal-mart.com::65f54a6a-9fe0-4737-978f-2a83e67b0500" providerId="AD" clId="Web-{0EB53795-FC9E-6CAA-AC79-3B40F6FA69E6}" dt="2023-12-14T06:40:00.980" v="7" actId="14100"/>
          <ac:picMkLst>
            <pc:docMk/>
            <pc:sldMk cId="4147075199" sldId="1707"/>
            <ac:picMk id="3" creationId="{C623C714-D5DE-B3E0-DC3C-DABD82ED8AD7}"/>
          </ac:picMkLst>
        </pc:picChg>
        <pc:picChg chg="mod">
          <ac:chgData name="Sree Hari B" userId="S::s1b08vu@homeoffice.wal-mart.com::65f54a6a-9fe0-4737-978f-2a83e67b0500" providerId="AD" clId="Web-{0EB53795-FC9E-6CAA-AC79-3B40F6FA69E6}" dt="2023-12-14T06:39:39.526" v="3" actId="1076"/>
          <ac:picMkLst>
            <pc:docMk/>
            <pc:sldMk cId="4147075199" sldId="1707"/>
            <ac:picMk id="5" creationId="{561098E5-970B-7086-1265-42239D52EBCB}"/>
          </ac:picMkLst>
        </pc:picChg>
      </pc:sldChg>
      <pc:sldChg chg="new del">
        <pc:chgData name="Sree Hari B" userId="S::s1b08vu@homeoffice.wal-mart.com::65f54a6a-9fe0-4737-978f-2a83e67b0500" providerId="AD" clId="Web-{0EB53795-FC9E-6CAA-AC79-3B40F6FA69E6}" dt="2023-12-14T06:40:45.872" v="10"/>
        <pc:sldMkLst>
          <pc:docMk/>
          <pc:sldMk cId="819542356" sldId="1712"/>
        </pc:sldMkLst>
      </pc:sldChg>
      <pc:sldChg chg="add">
        <pc:chgData name="Sree Hari B" userId="S::s1b08vu@homeoffice.wal-mart.com::65f54a6a-9fe0-4737-978f-2a83e67b0500" providerId="AD" clId="Web-{0EB53795-FC9E-6CAA-AC79-3B40F6FA69E6}" dt="2023-12-14T06:40:35.059" v="9"/>
        <pc:sldMkLst>
          <pc:docMk/>
          <pc:sldMk cId="247814536" sldId="1713"/>
        </pc:sldMkLst>
      </pc:sldChg>
    </pc:docChg>
  </pc:docChgLst>
  <pc:docChgLst>
    <pc:chgData name="Narayanan A" userId="S::n0a02qj@homeoffice.wal-mart.com::b19010a6-0419-420b-9785-8075b5efad97" providerId="AD" clId="Web-{69DA9F9D-31B9-126D-A036-2652B77169DF}"/>
    <pc:docChg chg="modSld sldOrd">
      <pc:chgData name="Narayanan A" userId="S::n0a02qj@homeoffice.wal-mart.com::b19010a6-0419-420b-9785-8075b5efad97" providerId="AD" clId="Web-{69DA9F9D-31B9-126D-A036-2652B77169DF}" dt="2023-12-14T06:47:34.264" v="8"/>
      <pc:docMkLst>
        <pc:docMk/>
      </pc:docMkLst>
      <pc:sldChg chg="ord">
        <pc:chgData name="Narayanan A" userId="S::n0a02qj@homeoffice.wal-mart.com::b19010a6-0419-420b-9785-8075b5efad97" providerId="AD" clId="Web-{69DA9F9D-31B9-126D-A036-2652B77169DF}" dt="2023-12-14T06:47:34.264" v="8"/>
        <pc:sldMkLst>
          <pc:docMk/>
          <pc:sldMk cId="419352361" sldId="1686"/>
        </pc:sldMkLst>
      </pc:sldChg>
      <pc:sldChg chg="delSp modSp">
        <pc:chgData name="Narayanan A" userId="S::n0a02qj@homeoffice.wal-mart.com::b19010a6-0419-420b-9785-8075b5efad97" providerId="AD" clId="Web-{69DA9F9D-31B9-126D-A036-2652B77169DF}" dt="2023-12-14T06:47:22.311" v="7" actId="1076"/>
        <pc:sldMkLst>
          <pc:docMk/>
          <pc:sldMk cId="3525266099" sldId="1700"/>
        </pc:sldMkLst>
        <pc:picChg chg="del">
          <ac:chgData name="Narayanan A" userId="S::n0a02qj@homeoffice.wal-mart.com::b19010a6-0419-420b-9785-8075b5efad97" providerId="AD" clId="Web-{69DA9F9D-31B9-126D-A036-2652B77169DF}" dt="2023-12-14T06:46:48.779" v="0"/>
          <ac:picMkLst>
            <pc:docMk/>
            <pc:sldMk cId="3525266099" sldId="1700"/>
            <ac:picMk id="3" creationId="{9C2056A5-6634-2C79-77AC-7AF8865C10E4}"/>
          </ac:picMkLst>
        </pc:picChg>
        <pc:picChg chg="mod">
          <ac:chgData name="Narayanan A" userId="S::n0a02qj@homeoffice.wal-mart.com::b19010a6-0419-420b-9785-8075b5efad97" providerId="AD" clId="Web-{69DA9F9D-31B9-126D-A036-2652B77169DF}" dt="2023-12-14T06:47:22.311" v="7" actId="1076"/>
          <ac:picMkLst>
            <pc:docMk/>
            <pc:sldMk cId="3525266099" sldId="1700"/>
            <ac:picMk id="5" creationId="{0FEFAD76-C6C3-2CA3-B060-A4042EA1801A}"/>
          </ac:picMkLst>
        </pc:picChg>
      </pc:sldChg>
    </pc:docChg>
  </pc:docChgLst>
</pc:chgInfo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svg"/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2" Type="http://schemas.openxmlformats.org/officeDocument/2006/relationships/image" Target="../media/image120.svg"/><Relationship Id="rId1" Type="http://schemas.openxmlformats.org/officeDocument/2006/relationships/image" Target="../media/image119.png"/><Relationship Id="rId6" Type="http://schemas.openxmlformats.org/officeDocument/2006/relationships/image" Target="../media/image124.svg"/><Relationship Id="rId5" Type="http://schemas.openxmlformats.org/officeDocument/2006/relationships/image" Target="../media/image123.png"/><Relationship Id="rId4" Type="http://schemas.openxmlformats.org/officeDocument/2006/relationships/image" Target="../media/image122.sv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jpeg"/><Relationship Id="rId1" Type="http://schemas.openxmlformats.org/officeDocument/2006/relationships/image" Target="../media/image141.png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svg"/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2" Type="http://schemas.openxmlformats.org/officeDocument/2006/relationships/image" Target="../media/image120.svg"/><Relationship Id="rId1" Type="http://schemas.openxmlformats.org/officeDocument/2006/relationships/image" Target="../media/image119.png"/><Relationship Id="rId6" Type="http://schemas.openxmlformats.org/officeDocument/2006/relationships/image" Target="../media/image124.svg"/><Relationship Id="rId5" Type="http://schemas.openxmlformats.org/officeDocument/2006/relationships/image" Target="../media/image123.png"/><Relationship Id="rId4" Type="http://schemas.openxmlformats.org/officeDocument/2006/relationships/image" Target="../media/image122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jpeg"/><Relationship Id="rId1" Type="http://schemas.openxmlformats.org/officeDocument/2006/relationships/image" Target="../media/image14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78FBC0-2469-4199-8A17-1A578450CA6C}" type="doc">
      <dgm:prSet loTypeId="urn:microsoft.com/office/officeart/2005/8/layout/radial5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7D9726-A118-4F82-B236-AB2B6A44CF4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/>
            <a:t>Team-8</a:t>
          </a:r>
          <a:br>
            <a:rPr lang="en-US"/>
          </a:br>
          <a:r>
            <a:rPr lang="en-US"/>
            <a:t>OMCSS</a:t>
          </a:r>
        </a:p>
      </dgm:t>
    </dgm:pt>
    <dgm:pt modelId="{12C770FC-1CE0-4475-AD8B-0B941269389A}" type="parTrans" cxnId="{3EE8E15C-8624-4E01-96D6-56270165CBD7}">
      <dgm:prSet/>
      <dgm:spPr/>
      <dgm:t>
        <a:bodyPr/>
        <a:lstStyle/>
        <a:p>
          <a:endParaRPr lang="en-US"/>
        </a:p>
      </dgm:t>
    </dgm:pt>
    <dgm:pt modelId="{4C233F0A-E07A-45C7-8B4A-6EAAC5577F55}" type="sibTrans" cxnId="{3EE8E15C-8624-4E01-96D6-56270165CBD7}">
      <dgm:prSet/>
      <dgm:spPr/>
      <dgm:t>
        <a:bodyPr/>
        <a:lstStyle/>
        <a:p>
          <a:endParaRPr lang="en-US"/>
        </a:p>
      </dgm:t>
    </dgm:pt>
    <dgm:pt modelId="{3FB11359-7905-4623-B70A-A6650D0F9DDB}">
      <dgm:prSet phldrT="[Text]"/>
      <dgm:spPr>
        <a:solidFill>
          <a:srgbClr val="00B0F0"/>
        </a:solidFill>
      </dgm:spPr>
      <dgm:t>
        <a:bodyPr/>
        <a:lstStyle/>
        <a:p>
          <a:r>
            <a:rPr lang="en-US"/>
            <a:t>TEAM-4</a:t>
          </a:r>
          <a:br>
            <a:rPr lang="en-US"/>
          </a:br>
          <a:r>
            <a:rPr lang="en-US"/>
            <a:t>CART</a:t>
          </a:r>
        </a:p>
      </dgm:t>
    </dgm:pt>
    <dgm:pt modelId="{70610AEF-6BD2-4932-BEFB-A995D878C66A}" type="parTrans" cxnId="{8DBABCCC-B579-4EF4-B595-2B89392BBA4F}">
      <dgm:prSet/>
      <dgm:spPr/>
      <dgm:t>
        <a:bodyPr/>
        <a:lstStyle/>
        <a:p>
          <a:endParaRPr lang="en-US"/>
        </a:p>
      </dgm:t>
    </dgm:pt>
    <dgm:pt modelId="{93D9AEDC-3508-49B6-ABEE-2B5889B6CD53}" type="sibTrans" cxnId="{8DBABCCC-B579-4EF4-B595-2B89392BBA4F}">
      <dgm:prSet/>
      <dgm:spPr/>
      <dgm:t>
        <a:bodyPr/>
        <a:lstStyle/>
        <a:p>
          <a:endParaRPr lang="en-US"/>
        </a:p>
      </dgm:t>
    </dgm:pt>
    <dgm:pt modelId="{A13E0882-3664-453A-A5E0-DD6D26F5A4A7}">
      <dgm:prSet phldrT="[Text]"/>
      <dgm:spPr>
        <a:solidFill>
          <a:srgbClr val="FF6600"/>
        </a:solidFill>
      </dgm:spPr>
      <dgm:t>
        <a:bodyPr/>
        <a:lstStyle/>
        <a:p>
          <a:r>
            <a:rPr lang="en-US"/>
            <a:t>TEAM-7</a:t>
          </a:r>
          <a:br>
            <a:rPr lang="en-US"/>
          </a:br>
          <a:r>
            <a:rPr lang="en-US"/>
            <a:t>TRACKER </a:t>
          </a:r>
        </a:p>
      </dgm:t>
    </dgm:pt>
    <dgm:pt modelId="{F526D84E-2C7A-4F41-B9E8-E03F9D4995B5}" type="parTrans" cxnId="{86149956-EF1C-42DB-AF03-36E32E271A63}">
      <dgm:prSet/>
      <dgm:spPr/>
      <dgm:t>
        <a:bodyPr/>
        <a:lstStyle/>
        <a:p>
          <a:endParaRPr lang="en-US"/>
        </a:p>
      </dgm:t>
    </dgm:pt>
    <dgm:pt modelId="{567FBB70-922A-42DC-B99E-B19C63CB20F4}" type="sibTrans" cxnId="{86149956-EF1C-42DB-AF03-36E32E271A63}">
      <dgm:prSet/>
      <dgm:spPr/>
      <dgm:t>
        <a:bodyPr/>
        <a:lstStyle/>
        <a:p>
          <a:endParaRPr lang="en-US"/>
        </a:p>
      </dgm:t>
    </dgm:pt>
    <dgm:pt modelId="{6618E609-7679-4046-9ABD-EEFFF83995B5}">
      <dgm:prSet phldrT="[Text]"/>
      <dgm:spPr>
        <a:solidFill>
          <a:srgbClr val="92D050"/>
        </a:solidFill>
      </dgm:spPr>
      <dgm:t>
        <a:bodyPr/>
        <a:lstStyle/>
        <a:p>
          <a:r>
            <a:rPr lang="en-US"/>
            <a:t>TEAM-6</a:t>
          </a:r>
          <a:br>
            <a:rPr lang="en-US"/>
          </a:br>
          <a:r>
            <a:rPr lang="en-US"/>
            <a:t>ORDER </a:t>
          </a:r>
        </a:p>
      </dgm:t>
    </dgm:pt>
    <dgm:pt modelId="{58EB971A-401E-442A-B77E-59C6DD25B03A}" type="parTrans" cxnId="{650FA16A-0490-4A70-91D1-0378EC273729}">
      <dgm:prSet/>
      <dgm:spPr/>
      <dgm:t>
        <a:bodyPr/>
        <a:lstStyle/>
        <a:p>
          <a:endParaRPr lang="en-US"/>
        </a:p>
      </dgm:t>
    </dgm:pt>
    <dgm:pt modelId="{934C31DF-019D-4374-8CC5-26050EF05812}" type="sibTrans" cxnId="{650FA16A-0490-4A70-91D1-0378EC273729}">
      <dgm:prSet/>
      <dgm:spPr/>
      <dgm:t>
        <a:bodyPr/>
        <a:lstStyle/>
        <a:p>
          <a:endParaRPr lang="en-US"/>
        </a:p>
      </dgm:t>
    </dgm:pt>
    <dgm:pt modelId="{548AAE51-3339-458B-9489-9396ABF8D6D4}" type="pres">
      <dgm:prSet presAssocID="{E778FBC0-2469-4199-8A17-1A578450CA6C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408EA0A0-8114-43DC-85FF-216AAF905022}" type="pres">
      <dgm:prSet presAssocID="{C67D9726-A118-4F82-B236-AB2B6A44CF4B}" presName="centerShape" presStyleLbl="node0" presStyleIdx="0" presStyleCnt="1"/>
      <dgm:spPr/>
    </dgm:pt>
    <dgm:pt modelId="{BC515750-7DA6-4286-AB16-8039AFE6643B}" type="pres">
      <dgm:prSet presAssocID="{70610AEF-6BD2-4932-BEFB-A995D878C66A}" presName="parTrans" presStyleLbl="sibTrans2D1" presStyleIdx="0" presStyleCnt="3"/>
      <dgm:spPr/>
    </dgm:pt>
    <dgm:pt modelId="{9008BC28-279B-4FEB-8125-7F57FDEB053B}" type="pres">
      <dgm:prSet presAssocID="{70610AEF-6BD2-4932-BEFB-A995D878C66A}" presName="connectorText" presStyleLbl="sibTrans2D1" presStyleIdx="0" presStyleCnt="3"/>
      <dgm:spPr/>
    </dgm:pt>
    <dgm:pt modelId="{FF8903E1-5F85-4EA1-BC31-24E66CB37A06}" type="pres">
      <dgm:prSet presAssocID="{3FB11359-7905-4623-B70A-A6650D0F9DDB}" presName="node" presStyleLbl="node1" presStyleIdx="0" presStyleCnt="3">
        <dgm:presLayoutVars>
          <dgm:bulletEnabled val="1"/>
        </dgm:presLayoutVars>
      </dgm:prSet>
      <dgm:spPr/>
    </dgm:pt>
    <dgm:pt modelId="{D1CEF352-46A4-488C-99CB-95388757A2E0}" type="pres">
      <dgm:prSet presAssocID="{F526D84E-2C7A-4F41-B9E8-E03F9D4995B5}" presName="parTrans" presStyleLbl="sibTrans2D1" presStyleIdx="1" presStyleCnt="3"/>
      <dgm:spPr/>
    </dgm:pt>
    <dgm:pt modelId="{AACE149C-BE31-4D43-9939-914E2A5FF9F5}" type="pres">
      <dgm:prSet presAssocID="{F526D84E-2C7A-4F41-B9E8-E03F9D4995B5}" presName="connectorText" presStyleLbl="sibTrans2D1" presStyleIdx="1" presStyleCnt="3"/>
      <dgm:spPr/>
    </dgm:pt>
    <dgm:pt modelId="{694B7C5D-AFC5-43C0-BC3A-FD5DBC6B77F4}" type="pres">
      <dgm:prSet presAssocID="{A13E0882-3664-453A-A5E0-DD6D26F5A4A7}" presName="node" presStyleLbl="node1" presStyleIdx="1" presStyleCnt="3">
        <dgm:presLayoutVars>
          <dgm:bulletEnabled val="1"/>
        </dgm:presLayoutVars>
      </dgm:prSet>
      <dgm:spPr/>
    </dgm:pt>
    <dgm:pt modelId="{7327BEBF-24A3-401B-A22F-38A988197332}" type="pres">
      <dgm:prSet presAssocID="{58EB971A-401E-442A-B77E-59C6DD25B03A}" presName="parTrans" presStyleLbl="sibTrans2D1" presStyleIdx="2" presStyleCnt="3"/>
      <dgm:spPr/>
    </dgm:pt>
    <dgm:pt modelId="{62BF1B69-1C7A-4536-9B62-A204554E6A12}" type="pres">
      <dgm:prSet presAssocID="{58EB971A-401E-442A-B77E-59C6DD25B03A}" presName="connectorText" presStyleLbl="sibTrans2D1" presStyleIdx="2" presStyleCnt="3"/>
      <dgm:spPr/>
    </dgm:pt>
    <dgm:pt modelId="{9D0FAEA3-1BFD-410D-831A-9DFFFFCD6A36}" type="pres">
      <dgm:prSet presAssocID="{6618E609-7679-4046-9ABD-EEFFF83995B5}" presName="node" presStyleLbl="node1" presStyleIdx="2" presStyleCnt="3">
        <dgm:presLayoutVars>
          <dgm:bulletEnabled val="1"/>
        </dgm:presLayoutVars>
      </dgm:prSet>
      <dgm:spPr/>
    </dgm:pt>
  </dgm:ptLst>
  <dgm:cxnLst>
    <dgm:cxn modelId="{3EECDF40-2AC0-4648-84EC-3071334BE99D}" type="presOf" srcId="{58EB971A-401E-442A-B77E-59C6DD25B03A}" destId="{62BF1B69-1C7A-4536-9B62-A204554E6A12}" srcOrd="1" destOrd="0" presId="urn:microsoft.com/office/officeart/2005/8/layout/radial5"/>
    <dgm:cxn modelId="{3EE8E15C-8624-4E01-96D6-56270165CBD7}" srcId="{E778FBC0-2469-4199-8A17-1A578450CA6C}" destId="{C67D9726-A118-4F82-B236-AB2B6A44CF4B}" srcOrd="0" destOrd="0" parTransId="{12C770FC-1CE0-4475-AD8B-0B941269389A}" sibTransId="{4C233F0A-E07A-45C7-8B4A-6EAAC5577F55}"/>
    <dgm:cxn modelId="{CA496660-9938-465E-841B-547926A6EC20}" type="presOf" srcId="{3FB11359-7905-4623-B70A-A6650D0F9DDB}" destId="{FF8903E1-5F85-4EA1-BC31-24E66CB37A06}" srcOrd="0" destOrd="0" presId="urn:microsoft.com/office/officeart/2005/8/layout/radial5"/>
    <dgm:cxn modelId="{650FA16A-0490-4A70-91D1-0378EC273729}" srcId="{C67D9726-A118-4F82-B236-AB2B6A44CF4B}" destId="{6618E609-7679-4046-9ABD-EEFFF83995B5}" srcOrd="2" destOrd="0" parTransId="{58EB971A-401E-442A-B77E-59C6DD25B03A}" sibTransId="{934C31DF-019D-4374-8CC5-26050EF05812}"/>
    <dgm:cxn modelId="{0DB34674-1E49-42C0-822B-969844C985C4}" type="presOf" srcId="{E778FBC0-2469-4199-8A17-1A578450CA6C}" destId="{548AAE51-3339-458B-9489-9396ABF8D6D4}" srcOrd="0" destOrd="0" presId="urn:microsoft.com/office/officeart/2005/8/layout/radial5"/>
    <dgm:cxn modelId="{86149956-EF1C-42DB-AF03-36E32E271A63}" srcId="{C67D9726-A118-4F82-B236-AB2B6A44CF4B}" destId="{A13E0882-3664-453A-A5E0-DD6D26F5A4A7}" srcOrd="1" destOrd="0" parTransId="{F526D84E-2C7A-4F41-B9E8-E03F9D4995B5}" sibTransId="{567FBB70-922A-42DC-B99E-B19C63CB20F4}"/>
    <dgm:cxn modelId="{2A12CA77-164C-4016-A017-5D3B68629B88}" type="presOf" srcId="{C67D9726-A118-4F82-B236-AB2B6A44CF4B}" destId="{408EA0A0-8114-43DC-85FF-216AAF905022}" srcOrd="0" destOrd="0" presId="urn:microsoft.com/office/officeart/2005/8/layout/radial5"/>
    <dgm:cxn modelId="{57E47E88-3BB7-4090-9107-C7E18786861D}" type="presOf" srcId="{70610AEF-6BD2-4932-BEFB-A995D878C66A}" destId="{BC515750-7DA6-4286-AB16-8039AFE6643B}" srcOrd="0" destOrd="0" presId="urn:microsoft.com/office/officeart/2005/8/layout/radial5"/>
    <dgm:cxn modelId="{AB8A81A5-DE13-48F6-B1B0-8B25D0DF94D7}" type="presOf" srcId="{F526D84E-2C7A-4F41-B9E8-E03F9D4995B5}" destId="{AACE149C-BE31-4D43-9939-914E2A5FF9F5}" srcOrd="1" destOrd="0" presId="urn:microsoft.com/office/officeart/2005/8/layout/radial5"/>
    <dgm:cxn modelId="{03FC8EA8-D33E-49A9-BB75-3E9D927F1AD9}" type="presOf" srcId="{58EB971A-401E-442A-B77E-59C6DD25B03A}" destId="{7327BEBF-24A3-401B-A22F-38A988197332}" srcOrd="0" destOrd="0" presId="urn:microsoft.com/office/officeart/2005/8/layout/radial5"/>
    <dgm:cxn modelId="{8DBABCCC-B579-4EF4-B595-2B89392BBA4F}" srcId="{C67D9726-A118-4F82-B236-AB2B6A44CF4B}" destId="{3FB11359-7905-4623-B70A-A6650D0F9DDB}" srcOrd="0" destOrd="0" parTransId="{70610AEF-6BD2-4932-BEFB-A995D878C66A}" sibTransId="{93D9AEDC-3508-49B6-ABEE-2B5889B6CD53}"/>
    <dgm:cxn modelId="{22BDC2D3-8D5E-4992-83F8-5455DECD0B4A}" type="presOf" srcId="{F526D84E-2C7A-4F41-B9E8-E03F9D4995B5}" destId="{D1CEF352-46A4-488C-99CB-95388757A2E0}" srcOrd="0" destOrd="0" presId="urn:microsoft.com/office/officeart/2005/8/layout/radial5"/>
    <dgm:cxn modelId="{3C07F3E1-B449-490B-ACE4-1F39A192986F}" type="presOf" srcId="{6618E609-7679-4046-9ABD-EEFFF83995B5}" destId="{9D0FAEA3-1BFD-410D-831A-9DFFFFCD6A36}" srcOrd="0" destOrd="0" presId="urn:microsoft.com/office/officeart/2005/8/layout/radial5"/>
    <dgm:cxn modelId="{63A1E9E8-5410-4D54-87E4-D94BA752F098}" type="presOf" srcId="{A13E0882-3664-453A-A5E0-DD6D26F5A4A7}" destId="{694B7C5D-AFC5-43C0-BC3A-FD5DBC6B77F4}" srcOrd="0" destOrd="0" presId="urn:microsoft.com/office/officeart/2005/8/layout/radial5"/>
    <dgm:cxn modelId="{31379AEE-64C9-4F72-8C03-F1974B881A00}" type="presOf" srcId="{70610AEF-6BD2-4932-BEFB-A995D878C66A}" destId="{9008BC28-279B-4FEB-8125-7F57FDEB053B}" srcOrd="1" destOrd="0" presId="urn:microsoft.com/office/officeart/2005/8/layout/radial5"/>
    <dgm:cxn modelId="{7AD9F9CB-B184-463E-8ABC-C52E1BB8509F}" type="presParOf" srcId="{548AAE51-3339-458B-9489-9396ABF8D6D4}" destId="{408EA0A0-8114-43DC-85FF-216AAF905022}" srcOrd="0" destOrd="0" presId="urn:microsoft.com/office/officeart/2005/8/layout/radial5"/>
    <dgm:cxn modelId="{E4010ADC-3394-423A-842F-52B86ABDAADF}" type="presParOf" srcId="{548AAE51-3339-458B-9489-9396ABF8D6D4}" destId="{BC515750-7DA6-4286-AB16-8039AFE6643B}" srcOrd="1" destOrd="0" presId="urn:microsoft.com/office/officeart/2005/8/layout/radial5"/>
    <dgm:cxn modelId="{7C29966F-50AE-4680-8142-C25ABD839581}" type="presParOf" srcId="{BC515750-7DA6-4286-AB16-8039AFE6643B}" destId="{9008BC28-279B-4FEB-8125-7F57FDEB053B}" srcOrd="0" destOrd="0" presId="urn:microsoft.com/office/officeart/2005/8/layout/radial5"/>
    <dgm:cxn modelId="{D84706F4-BD15-4F60-B7D5-17DFBF571BFF}" type="presParOf" srcId="{548AAE51-3339-458B-9489-9396ABF8D6D4}" destId="{FF8903E1-5F85-4EA1-BC31-24E66CB37A06}" srcOrd="2" destOrd="0" presId="urn:microsoft.com/office/officeart/2005/8/layout/radial5"/>
    <dgm:cxn modelId="{9344F4F8-32F7-41D2-93DC-37AA37D26FE0}" type="presParOf" srcId="{548AAE51-3339-458B-9489-9396ABF8D6D4}" destId="{D1CEF352-46A4-488C-99CB-95388757A2E0}" srcOrd="3" destOrd="0" presId="urn:microsoft.com/office/officeart/2005/8/layout/radial5"/>
    <dgm:cxn modelId="{D64B4431-64C2-423B-B957-1405B3C6AE9A}" type="presParOf" srcId="{D1CEF352-46A4-488C-99CB-95388757A2E0}" destId="{AACE149C-BE31-4D43-9939-914E2A5FF9F5}" srcOrd="0" destOrd="0" presId="urn:microsoft.com/office/officeart/2005/8/layout/radial5"/>
    <dgm:cxn modelId="{341A44A4-DD09-470E-97C4-6547920664A2}" type="presParOf" srcId="{548AAE51-3339-458B-9489-9396ABF8D6D4}" destId="{694B7C5D-AFC5-43C0-BC3A-FD5DBC6B77F4}" srcOrd="4" destOrd="0" presId="urn:microsoft.com/office/officeart/2005/8/layout/radial5"/>
    <dgm:cxn modelId="{2EEF42E7-27F8-4C16-9C8E-A7C38D51E586}" type="presParOf" srcId="{548AAE51-3339-458B-9489-9396ABF8D6D4}" destId="{7327BEBF-24A3-401B-A22F-38A988197332}" srcOrd="5" destOrd="0" presId="urn:microsoft.com/office/officeart/2005/8/layout/radial5"/>
    <dgm:cxn modelId="{66538500-FC17-426A-95B4-EDC629AC225D}" type="presParOf" srcId="{7327BEBF-24A3-401B-A22F-38A988197332}" destId="{62BF1B69-1C7A-4536-9B62-A204554E6A12}" srcOrd="0" destOrd="0" presId="urn:microsoft.com/office/officeart/2005/8/layout/radial5"/>
    <dgm:cxn modelId="{A2F43FFD-1BDD-41F8-B846-94902002B227}" type="presParOf" srcId="{548AAE51-3339-458B-9489-9396ABF8D6D4}" destId="{9D0FAEA3-1BFD-410D-831A-9DFFFFCD6A36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009BEF5-A90D-47A8-AECC-3AA1FDB644B1}" type="doc">
      <dgm:prSet loTypeId="urn:microsoft.com/office/officeart/2005/8/layout/list1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D1AE86C4-1E93-439A-B71D-8D612420D623}">
      <dgm:prSet phldrT="[Text]"/>
      <dgm:spPr/>
      <dgm:t>
        <a:bodyPr/>
        <a:lstStyle/>
        <a:p>
          <a:r>
            <a:rPr lang="en-US"/>
            <a:t>User Defined Exception</a:t>
          </a:r>
        </a:p>
      </dgm:t>
    </dgm:pt>
    <dgm:pt modelId="{C3F6F18E-1C18-4ACA-B521-F34B23B322A1}" type="parTrans" cxnId="{DA55836F-1A7A-49C2-B1F7-D818FD9119CA}">
      <dgm:prSet/>
      <dgm:spPr/>
      <dgm:t>
        <a:bodyPr/>
        <a:lstStyle/>
        <a:p>
          <a:endParaRPr lang="en-US"/>
        </a:p>
      </dgm:t>
    </dgm:pt>
    <dgm:pt modelId="{830E81C5-0BD7-42B4-BC52-443DAAD9BDDA}" type="sibTrans" cxnId="{DA55836F-1A7A-49C2-B1F7-D818FD9119CA}">
      <dgm:prSet/>
      <dgm:spPr/>
      <dgm:t>
        <a:bodyPr/>
        <a:lstStyle/>
        <a:p>
          <a:endParaRPr lang="en-US"/>
        </a:p>
      </dgm:t>
    </dgm:pt>
    <dgm:pt modelId="{47A172AB-B37C-4806-BB5C-8FD462539390}">
      <dgm:prSet phldrT="[Text]"/>
      <dgm:spPr/>
      <dgm:t>
        <a:bodyPr/>
        <a:lstStyle/>
        <a:p>
          <a:pPr>
            <a:buNone/>
          </a:pPr>
          <a:r>
            <a:rPr lang="en-US" b="1" i="0" u="sng" kern="1200">
              <a:latin typeface="Calibri" panose="020F0502020204030204"/>
              <a:ea typeface="+mn-ea"/>
              <a:cs typeface="+mn-cs"/>
            </a:rPr>
            <a:t>CartNotFoundException:</a:t>
          </a:r>
        </a:p>
      </dgm:t>
    </dgm:pt>
    <dgm:pt modelId="{30CFA7D6-84FB-44FF-9581-890D75214057}" type="parTrans" cxnId="{56A0284E-8396-4BCF-857C-CD46614A42C8}">
      <dgm:prSet/>
      <dgm:spPr/>
      <dgm:t>
        <a:bodyPr/>
        <a:lstStyle/>
        <a:p>
          <a:endParaRPr lang="en-US"/>
        </a:p>
      </dgm:t>
    </dgm:pt>
    <dgm:pt modelId="{F09AFA39-E447-4233-AC77-5A9604F63BBA}" type="sibTrans" cxnId="{56A0284E-8396-4BCF-857C-CD46614A42C8}">
      <dgm:prSet/>
      <dgm:spPr/>
      <dgm:t>
        <a:bodyPr/>
        <a:lstStyle/>
        <a:p>
          <a:endParaRPr lang="en-US"/>
        </a:p>
      </dgm:t>
    </dgm:pt>
    <dgm:pt modelId="{4F9111BB-AFBC-4E96-A32F-3FF69ED2B3B4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OrderNotFoundException:</a:t>
          </a:r>
          <a:endParaRPr lang="en-US" u="sng" kern="1200"/>
        </a:p>
      </dgm:t>
    </dgm:pt>
    <dgm:pt modelId="{6020E87A-49DD-4F9E-B30A-1CA9B47E4CEF}" type="parTrans" cxnId="{8A1AC119-8AC4-4D01-827E-83021EE4A898}">
      <dgm:prSet/>
      <dgm:spPr/>
      <dgm:t>
        <a:bodyPr/>
        <a:lstStyle/>
        <a:p>
          <a:endParaRPr lang="en-US"/>
        </a:p>
      </dgm:t>
    </dgm:pt>
    <dgm:pt modelId="{0A3D8FAC-0AEE-4BA3-8198-D1B94A8609C1}" type="sibTrans" cxnId="{8A1AC119-8AC4-4D01-827E-83021EE4A898}">
      <dgm:prSet/>
      <dgm:spPr/>
      <dgm:t>
        <a:bodyPr/>
        <a:lstStyle/>
        <a:p>
          <a:endParaRPr lang="en-US"/>
        </a:p>
      </dgm:t>
    </dgm:pt>
    <dgm:pt modelId="{DDD6D83C-FF74-4ABE-9FF3-9E9A3478EE7E}">
      <dgm:prSet phldrT="[Text]"/>
      <dgm:spPr/>
      <dgm:t>
        <a:bodyPr/>
        <a:lstStyle/>
        <a:p>
          <a:r>
            <a:rPr lang="en-US"/>
            <a:t>Fallback Mechanism</a:t>
          </a:r>
        </a:p>
      </dgm:t>
    </dgm:pt>
    <dgm:pt modelId="{53D3E100-86B2-429C-80A2-B98B3E6DC7B3}" type="parTrans" cxnId="{8B2CBAAD-3E84-455F-B4D0-FE26A1721FFE}">
      <dgm:prSet/>
      <dgm:spPr/>
      <dgm:t>
        <a:bodyPr/>
        <a:lstStyle/>
        <a:p>
          <a:endParaRPr lang="en-US"/>
        </a:p>
      </dgm:t>
    </dgm:pt>
    <dgm:pt modelId="{CEB56071-3891-4386-BF5C-36A6161596FC}" type="sibTrans" cxnId="{8B2CBAAD-3E84-455F-B4D0-FE26A1721FFE}">
      <dgm:prSet/>
      <dgm:spPr/>
      <dgm:t>
        <a:bodyPr/>
        <a:lstStyle/>
        <a:p>
          <a:endParaRPr lang="en-US"/>
        </a:p>
      </dgm:t>
    </dgm:pt>
    <dgm:pt modelId="{65A377BD-93A4-4E32-9472-D44185C61B78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CartServiceException</a:t>
          </a:r>
          <a:r>
            <a:rPr lang="en-US" b="1" i="0" kern="1200"/>
            <a:t>:</a:t>
          </a:r>
          <a:endParaRPr lang="en-US" kern="1200"/>
        </a:p>
      </dgm:t>
    </dgm:pt>
    <dgm:pt modelId="{E55E6F71-596D-422C-BF44-1DA667BD75CC}" type="parTrans" cxnId="{7BC5F439-1A1B-47D9-8BEE-0C26AAEEB338}">
      <dgm:prSet/>
      <dgm:spPr/>
      <dgm:t>
        <a:bodyPr/>
        <a:lstStyle/>
        <a:p>
          <a:endParaRPr lang="en-US"/>
        </a:p>
      </dgm:t>
    </dgm:pt>
    <dgm:pt modelId="{60652AD0-F60C-4B39-AA03-7D25A5899292}" type="sibTrans" cxnId="{7BC5F439-1A1B-47D9-8BEE-0C26AAEEB338}">
      <dgm:prSet/>
      <dgm:spPr/>
      <dgm:t>
        <a:bodyPr/>
        <a:lstStyle/>
        <a:p>
          <a:endParaRPr lang="en-US"/>
        </a:p>
      </dgm:t>
    </dgm:pt>
    <dgm:pt modelId="{1B4DBECF-84EF-4EB2-BC77-314B49D37DBC}">
      <dgm:prSet phldrT="[Text]"/>
      <dgm:spPr/>
      <dgm:t>
        <a:bodyPr/>
        <a:lstStyle/>
        <a:p>
          <a:r>
            <a:rPr lang="en-US"/>
            <a:t>Generic Exception</a:t>
          </a:r>
        </a:p>
      </dgm:t>
    </dgm:pt>
    <dgm:pt modelId="{123524FD-027D-434C-B98C-4F4F0999630D}" type="parTrans" cxnId="{7AD4ABB1-4A02-43A9-9E36-8AD8CAB03360}">
      <dgm:prSet/>
      <dgm:spPr/>
      <dgm:t>
        <a:bodyPr/>
        <a:lstStyle/>
        <a:p>
          <a:endParaRPr lang="en-US"/>
        </a:p>
      </dgm:t>
    </dgm:pt>
    <dgm:pt modelId="{1C4310A5-F54E-4724-837E-7FAADC0951FB}" type="sibTrans" cxnId="{7AD4ABB1-4A02-43A9-9E36-8AD8CAB03360}">
      <dgm:prSet/>
      <dgm:spPr/>
      <dgm:t>
        <a:bodyPr/>
        <a:lstStyle/>
        <a:p>
          <a:endParaRPr lang="en-US"/>
        </a:p>
      </dgm:t>
    </dgm:pt>
    <dgm:pt modelId="{BC6384CC-3D02-4ED0-9864-259153BDF89D}">
      <dgm:prSet phldrT="[Text]"/>
      <dgm:spPr/>
      <dgm:t>
        <a:bodyPr/>
        <a:lstStyle/>
        <a:p>
          <a:pPr>
            <a:buFont typeface="Arial" panose="020B0604020202020204" pitchFamily="34" charset="0"/>
            <a:buNone/>
          </a:pPr>
          <a:r>
            <a:rPr lang="en-US" b="1" i="0" u="sng" kern="1200">
              <a:latin typeface="+mn-lt"/>
            </a:rPr>
            <a:t>Exception</a:t>
          </a:r>
          <a:r>
            <a:rPr lang="en-US" b="1" i="0" u="sng" kern="1200"/>
            <a:t>:</a:t>
          </a:r>
          <a:br>
            <a:rPr lang="en-US" b="1" i="0" kern="1200"/>
          </a:br>
          <a:endParaRPr lang="en-US" kern="1200"/>
        </a:p>
      </dgm:t>
    </dgm:pt>
    <dgm:pt modelId="{AABDE076-DDE8-427C-929A-B82B17736439}" type="parTrans" cxnId="{BBE13D18-38E9-4A81-8453-60A71961A06B}">
      <dgm:prSet/>
      <dgm:spPr/>
      <dgm:t>
        <a:bodyPr/>
        <a:lstStyle/>
        <a:p>
          <a:endParaRPr lang="en-US"/>
        </a:p>
      </dgm:t>
    </dgm:pt>
    <dgm:pt modelId="{0B15018F-ED30-43BA-87FC-B9D0B518D6EB}" type="sibTrans" cxnId="{BBE13D18-38E9-4A81-8453-60A71961A06B}">
      <dgm:prSet/>
      <dgm:spPr/>
      <dgm:t>
        <a:bodyPr/>
        <a:lstStyle/>
        <a:p>
          <a:endParaRPr lang="en-US"/>
        </a:p>
      </dgm:t>
    </dgm:pt>
    <dgm:pt modelId="{5BF5D506-B762-4F89-81C4-62DEA450990C}">
      <dgm:prSet phldrT="[Text]"/>
      <dgm:spPr/>
      <dgm:t>
        <a:bodyPr/>
        <a:lstStyle/>
        <a:p>
          <a:endParaRPr lang="en-US" kern="1200"/>
        </a:p>
      </dgm:t>
    </dgm:pt>
    <dgm:pt modelId="{A0F4A9C3-6B27-4893-BBC3-EFFFEA8F2513}" type="parTrans" cxnId="{7FB37B03-E42E-476F-A412-37B823CE90B2}">
      <dgm:prSet/>
      <dgm:spPr/>
      <dgm:t>
        <a:bodyPr/>
        <a:lstStyle/>
        <a:p>
          <a:endParaRPr lang="en-US"/>
        </a:p>
      </dgm:t>
    </dgm:pt>
    <dgm:pt modelId="{7E33668C-40BF-4290-B612-C65930517F7B}" type="sibTrans" cxnId="{7FB37B03-E42E-476F-A412-37B823CE90B2}">
      <dgm:prSet/>
      <dgm:spPr/>
      <dgm:t>
        <a:bodyPr/>
        <a:lstStyle/>
        <a:p>
          <a:endParaRPr lang="en-US"/>
        </a:p>
      </dgm:t>
    </dgm:pt>
    <dgm:pt modelId="{4829EE45-D244-49B8-9354-0D05CFD26E05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InvalidCartException:</a:t>
          </a:r>
          <a:endParaRPr lang="en-US" u="sng" kern="1200"/>
        </a:p>
      </dgm:t>
    </dgm:pt>
    <dgm:pt modelId="{DBFB2F81-CC50-4C26-A992-61B1FE307131}" type="parTrans" cxnId="{8883B644-8B86-4592-B47E-B3A5982CA1E7}">
      <dgm:prSet/>
      <dgm:spPr/>
      <dgm:t>
        <a:bodyPr/>
        <a:lstStyle/>
        <a:p>
          <a:endParaRPr lang="en-US"/>
        </a:p>
      </dgm:t>
    </dgm:pt>
    <dgm:pt modelId="{7EF93623-EBE9-4D24-B4B4-B8564E945BBC}" type="sibTrans" cxnId="{8883B644-8B86-4592-B47E-B3A5982CA1E7}">
      <dgm:prSet/>
      <dgm:spPr/>
      <dgm:t>
        <a:bodyPr/>
        <a:lstStyle/>
        <a:p>
          <a:endParaRPr lang="en-US"/>
        </a:p>
      </dgm:t>
    </dgm:pt>
    <dgm:pt modelId="{5524A7CA-F907-45E2-B850-EAACB3AA9172}">
      <dgm:prSet/>
      <dgm:spPr/>
      <dgm:t>
        <a:bodyPr/>
        <a:lstStyle/>
        <a:p>
          <a:r>
            <a:rPr lang="en-US" b="0" i="0" kern="1200">
              <a:latin typeface="Calibri" panose="020F0502020204030204"/>
              <a:ea typeface="+mn-ea"/>
              <a:cs typeface="+mn-cs"/>
            </a:rPr>
            <a:t>Serves as a fallback for unhandled exceptions.</a:t>
          </a:r>
        </a:p>
      </dgm:t>
    </dgm:pt>
    <dgm:pt modelId="{C1AFCFD1-553A-45A2-B51B-537B4B8E673E}" type="parTrans" cxnId="{196D74A8-33F2-4DB2-8735-C6D5A344FBF7}">
      <dgm:prSet/>
      <dgm:spPr/>
      <dgm:t>
        <a:bodyPr/>
        <a:lstStyle/>
        <a:p>
          <a:endParaRPr lang="en-US"/>
        </a:p>
      </dgm:t>
    </dgm:pt>
    <dgm:pt modelId="{177163CD-F1B3-4EDD-8033-F609F94C5819}" type="sibTrans" cxnId="{196D74A8-33F2-4DB2-8735-C6D5A344FBF7}">
      <dgm:prSet/>
      <dgm:spPr/>
      <dgm:t>
        <a:bodyPr/>
        <a:lstStyle/>
        <a:p>
          <a:endParaRPr lang="en-US"/>
        </a:p>
      </dgm:t>
    </dgm:pt>
    <dgm:pt modelId="{17CAE0E6-5D59-41C5-81A9-68FD55840DFC}">
      <dgm:prSet/>
      <dgm:spPr/>
      <dgm:t>
        <a:bodyPr/>
        <a:lstStyle/>
        <a:p>
          <a:r>
            <a:rPr lang="en-US" b="0" i="0" kern="1200">
              <a:latin typeface="Calibri" panose="020F0502020204030204"/>
              <a:ea typeface="+mn-ea"/>
              <a:cs typeface="+mn-cs"/>
            </a:rPr>
            <a:t>Returns a 500 Internal Server Error status with a generic error message.</a:t>
          </a:r>
        </a:p>
      </dgm:t>
    </dgm:pt>
    <dgm:pt modelId="{9A5C9A48-C3C2-4E46-8EF3-19DD4312F30A}" type="parTrans" cxnId="{99A36D96-C67C-402C-B18C-2ACA535F2EFE}">
      <dgm:prSet/>
      <dgm:spPr/>
      <dgm:t>
        <a:bodyPr/>
        <a:lstStyle/>
        <a:p>
          <a:endParaRPr lang="en-US"/>
        </a:p>
      </dgm:t>
    </dgm:pt>
    <dgm:pt modelId="{B221E953-624B-4D9F-B578-80737532E64E}" type="sibTrans" cxnId="{99A36D96-C67C-402C-B18C-2ACA535F2EFE}">
      <dgm:prSet/>
      <dgm:spPr/>
      <dgm:t>
        <a:bodyPr/>
        <a:lstStyle/>
        <a:p>
          <a:endParaRPr lang="en-US"/>
        </a:p>
      </dgm:t>
    </dgm:pt>
    <dgm:pt modelId="{8200EC14-6AA7-4B23-A193-0F5D0EE844D7}">
      <dgm:prSet/>
      <dgm:spPr/>
      <dgm:t>
        <a:bodyPr/>
        <a:lstStyle/>
        <a:p>
          <a:r>
            <a:rPr lang="en-US" b="0" i="0" kern="1200">
              <a:latin typeface="Calibri" panose="020F0502020204030204"/>
              <a:ea typeface="+mn-ea"/>
              <a:cs typeface="+mn-cs"/>
            </a:rPr>
            <a:t>Encourages users to refresh the page and notifies about an internal server error.</a:t>
          </a:r>
        </a:p>
      </dgm:t>
    </dgm:pt>
    <dgm:pt modelId="{BAE9925B-8B7D-4918-8E97-41BB5FC1F6E4}" type="parTrans" cxnId="{4B709C1B-06C0-4B4D-8FE6-26511D29583A}">
      <dgm:prSet/>
      <dgm:spPr/>
      <dgm:t>
        <a:bodyPr/>
        <a:lstStyle/>
        <a:p>
          <a:endParaRPr lang="en-US"/>
        </a:p>
      </dgm:t>
    </dgm:pt>
    <dgm:pt modelId="{FA07A587-A1E6-4D0F-88FE-957B329CF352}" type="sibTrans" cxnId="{4B709C1B-06C0-4B4D-8FE6-26511D29583A}">
      <dgm:prSet/>
      <dgm:spPr/>
      <dgm:t>
        <a:bodyPr/>
        <a:lstStyle/>
        <a:p>
          <a:endParaRPr lang="en-US"/>
        </a:p>
      </dgm:t>
    </dgm:pt>
    <dgm:pt modelId="{8B5D2332-E14A-49FB-B387-618BD17D3D05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Handles instances where an order is not found.</a:t>
          </a:r>
        </a:p>
      </dgm:t>
    </dgm:pt>
    <dgm:pt modelId="{8C47B8B1-B46B-4019-9B2E-C12C59A89528}" type="parTrans" cxnId="{C5304CE7-2B2F-4692-A4B2-07DE78C67408}">
      <dgm:prSet/>
      <dgm:spPr/>
      <dgm:t>
        <a:bodyPr/>
        <a:lstStyle/>
        <a:p>
          <a:endParaRPr lang="en-US"/>
        </a:p>
      </dgm:t>
    </dgm:pt>
    <dgm:pt modelId="{9EE22BD3-8EAE-4AA0-97F3-9E962277BC99}" type="sibTrans" cxnId="{C5304CE7-2B2F-4692-A4B2-07DE78C67408}">
      <dgm:prSet/>
      <dgm:spPr/>
      <dgm:t>
        <a:bodyPr/>
        <a:lstStyle/>
        <a:p>
          <a:endParaRPr lang="en-US"/>
        </a:p>
      </dgm:t>
    </dgm:pt>
    <dgm:pt modelId="{151DBECB-57D8-476F-BFF9-29AE4CC5D604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Returns a 404 Not found status with a user-friendly error message.</a:t>
          </a:r>
        </a:p>
      </dgm:t>
    </dgm:pt>
    <dgm:pt modelId="{0BEE2F34-39ED-4694-A11F-DBE74B0A5657}" type="parTrans" cxnId="{CD96D389-C815-451E-AE08-B83632662E18}">
      <dgm:prSet/>
      <dgm:spPr/>
      <dgm:t>
        <a:bodyPr/>
        <a:lstStyle/>
        <a:p>
          <a:endParaRPr lang="en-US"/>
        </a:p>
      </dgm:t>
    </dgm:pt>
    <dgm:pt modelId="{120F024A-602E-4BAE-8396-D8E0284CC7F8}" type="sibTrans" cxnId="{CD96D389-C815-451E-AE08-B83632662E18}">
      <dgm:prSet/>
      <dgm:spPr/>
      <dgm:t>
        <a:bodyPr/>
        <a:lstStyle/>
        <a:p>
          <a:endParaRPr lang="en-US"/>
        </a:p>
      </dgm:t>
    </dgm:pt>
    <dgm:pt modelId="{729FFC2B-463C-4149-8C4D-1785B8DDF39E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Handles instances where a cart is not found.</a:t>
          </a:r>
        </a:p>
      </dgm:t>
    </dgm:pt>
    <dgm:pt modelId="{91544730-F5BF-4AF0-B95F-26B374AAE84F}" type="parTrans" cxnId="{25ADE315-19DC-44A1-9155-F73F02BA36E6}">
      <dgm:prSet/>
      <dgm:spPr/>
      <dgm:t>
        <a:bodyPr/>
        <a:lstStyle/>
        <a:p>
          <a:endParaRPr lang="en-US"/>
        </a:p>
      </dgm:t>
    </dgm:pt>
    <dgm:pt modelId="{82B7297F-B791-42E5-9CD3-7638E7BF3EA0}" type="sibTrans" cxnId="{25ADE315-19DC-44A1-9155-F73F02BA36E6}">
      <dgm:prSet/>
      <dgm:spPr/>
      <dgm:t>
        <a:bodyPr/>
        <a:lstStyle/>
        <a:p>
          <a:endParaRPr lang="en-US"/>
        </a:p>
      </dgm:t>
    </dgm:pt>
    <dgm:pt modelId="{806A8ACC-38CB-4453-A799-D97E04349299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Returns a 404 Not found status with a user-friendly error message.</a:t>
          </a:r>
        </a:p>
      </dgm:t>
    </dgm:pt>
    <dgm:pt modelId="{9E2E221A-B002-43FC-B150-CB200559AB86}" type="parTrans" cxnId="{F261CCD0-8433-4253-8E44-8EBC2176DF98}">
      <dgm:prSet/>
      <dgm:spPr/>
      <dgm:t>
        <a:bodyPr/>
        <a:lstStyle/>
        <a:p>
          <a:endParaRPr lang="en-US"/>
        </a:p>
      </dgm:t>
    </dgm:pt>
    <dgm:pt modelId="{64CED999-F5C2-4BA3-A3B2-73A182157F48}" type="sibTrans" cxnId="{F261CCD0-8433-4253-8E44-8EBC2176DF98}">
      <dgm:prSet/>
      <dgm:spPr/>
      <dgm:t>
        <a:bodyPr/>
        <a:lstStyle/>
        <a:p>
          <a:endParaRPr lang="en-US"/>
        </a:p>
      </dgm:t>
    </dgm:pt>
    <dgm:pt modelId="{1CE36F42-D7DC-4D71-BA1B-ADC82CB45438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Handles instances where a cart is invalid.</a:t>
          </a:r>
        </a:p>
      </dgm:t>
    </dgm:pt>
    <dgm:pt modelId="{AA79F45A-845B-4D2F-8A6E-1C7E322D4A18}" type="parTrans" cxnId="{2E0001F6-5294-48E4-9116-12FBA92BB0B7}">
      <dgm:prSet/>
      <dgm:spPr/>
      <dgm:t>
        <a:bodyPr/>
        <a:lstStyle/>
        <a:p>
          <a:endParaRPr lang="en-US"/>
        </a:p>
      </dgm:t>
    </dgm:pt>
    <dgm:pt modelId="{6EF510E4-0126-4874-99CC-F9994CF9A238}" type="sibTrans" cxnId="{2E0001F6-5294-48E4-9116-12FBA92BB0B7}">
      <dgm:prSet/>
      <dgm:spPr/>
      <dgm:t>
        <a:bodyPr/>
        <a:lstStyle/>
        <a:p>
          <a:endParaRPr lang="en-US"/>
        </a:p>
      </dgm:t>
    </dgm:pt>
    <dgm:pt modelId="{0F9C4FC0-2B13-439D-BFC7-B15D79616192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Returns a 404 Not Found status with a user-friendly error message.</a:t>
          </a:r>
        </a:p>
      </dgm:t>
    </dgm:pt>
    <dgm:pt modelId="{3F3298BF-459C-4161-81BB-19BB4C07EC6A}" type="parTrans" cxnId="{47B24AC6-5177-475E-9F84-F965BA754571}">
      <dgm:prSet/>
      <dgm:spPr/>
      <dgm:t>
        <a:bodyPr/>
        <a:lstStyle/>
        <a:p>
          <a:endParaRPr lang="en-US"/>
        </a:p>
      </dgm:t>
    </dgm:pt>
    <dgm:pt modelId="{6FE34282-3496-476C-897E-07290560DEC0}" type="sibTrans" cxnId="{47B24AC6-5177-475E-9F84-F965BA754571}">
      <dgm:prSet/>
      <dgm:spPr/>
      <dgm:t>
        <a:bodyPr/>
        <a:lstStyle/>
        <a:p>
          <a:endParaRPr lang="en-US"/>
        </a:p>
      </dgm:t>
    </dgm:pt>
    <dgm:pt modelId="{AEE9FCE2-31C0-423F-AA09-B68173514C78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OrderServiceException</a:t>
          </a:r>
          <a:r>
            <a:rPr lang="en-US" b="1" i="0" kern="1200"/>
            <a:t>:</a:t>
          </a:r>
          <a:endParaRPr lang="en-US" kern="1200"/>
        </a:p>
      </dgm:t>
    </dgm:pt>
    <dgm:pt modelId="{35E2CC63-0128-4EF9-B33D-4376A8C72443}" type="parTrans" cxnId="{A9ADBCEB-8458-4E85-92C4-463794014881}">
      <dgm:prSet/>
      <dgm:spPr/>
      <dgm:t>
        <a:bodyPr/>
        <a:lstStyle/>
        <a:p>
          <a:endParaRPr lang="en-US"/>
        </a:p>
      </dgm:t>
    </dgm:pt>
    <dgm:pt modelId="{446F8BCE-9B3A-46AA-8F45-5AA8B662BC8E}" type="sibTrans" cxnId="{A9ADBCEB-8458-4E85-92C4-463794014881}">
      <dgm:prSet/>
      <dgm:spPr/>
      <dgm:t>
        <a:bodyPr/>
        <a:lstStyle/>
        <a:p>
          <a:endParaRPr lang="en-US"/>
        </a:p>
      </dgm:t>
    </dgm:pt>
    <dgm:pt modelId="{7078EF3B-ACD7-474D-ACFA-623B92AD1418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Handles exceptions related to the order service.</a:t>
          </a:r>
        </a:p>
      </dgm:t>
    </dgm:pt>
    <dgm:pt modelId="{E548236D-2130-4AE4-BAFB-17FCF5DDF215}" type="parTrans" cxnId="{58D3FCC2-1E71-483E-BB32-F923471EFFDF}">
      <dgm:prSet/>
      <dgm:spPr/>
      <dgm:t>
        <a:bodyPr/>
        <a:lstStyle/>
        <a:p>
          <a:endParaRPr lang="en-US"/>
        </a:p>
      </dgm:t>
    </dgm:pt>
    <dgm:pt modelId="{163FD4A6-A1A1-4C21-A79F-08D01EEE0E4B}" type="sibTrans" cxnId="{58D3FCC2-1E71-483E-BB32-F923471EFFDF}">
      <dgm:prSet/>
      <dgm:spPr/>
      <dgm:t>
        <a:bodyPr/>
        <a:lstStyle/>
        <a:p>
          <a:endParaRPr lang="en-US"/>
        </a:p>
      </dgm:t>
    </dgm:pt>
    <dgm:pt modelId="{C48C1869-3F1C-481E-BA45-9F700BE019E9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</dgm:t>
    </dgm:pt>
    <dgm:pt modelId="{ED9D179A-E07B-4C7E-BE97-364747636704}" type="parTrans" cxnId="{DD6404F9-67FD-4058-826D-A10D666690C5}">
      <dgm:prSet/>
      <dgm:spPr/>
      <dgm:t>
        <a:bodyPr/>
        <a:lstStyle/>
        <a:p>
          <a:endParaRPr lang="en-US"/>
        </a:p>
      </dgm:t>
    </dgm:pt>
    <dgm:pt modelId="{0CCD137D-F59A-4AC9-9781-C4E4196427A6}" type="sibTrans" cxnId="{DD6404F9-67FD-4058-826D-A10D666690C5}">
      <dgm:prSet/>
      <dgm:spPr/>
      <dgm:t>
        <a:bodyPr/>
        <a:lstStyle/>
        <a:p>
          <a:endParaRPr lang="en-US"/>
        </a:p>
      </dgm:t>
    </dgm:pt>
    <dgm:pt modelId="{050488E5-3636-4EB1-9784-DC79E24B6DD6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Handles exceptions related to the cart service.</a:t>
          </a:r>
        </a:p>
      </dgm:t>
    </dgm:pt>
    <dgm:pt modelId="{ED0A9CFC-7B59-4DEA-836D-7CDACB616DC0}" type="parTrans" cxnId="{3C770000-9237-414A-A00E-5A9C9E09CAAC}">
      <dgm:prSet/>
      <dgm:spPr/>
      <dgm:t>
        <a:bodyPr/>
        <a:lstStyle/>
        <a:p>
          <a:endParaRPr lang="en-US"/>
        </a:p>
      </dgm:t>
    </dgm:pt>
    <dgm:pt modelId="{49B2D4D0-E41F-4CE8-A955-964A593B5C36}" type="sibTrans" cxnId="{3C770000-9237-414A-A00E-5A9C9E09CAAC}">
      <dgm:prSet/>
      <dgm:spPr/>
      <dgm:t>
        <a:bodyPr/>
        <a:lstStyle/>
        <a:p>
          <a:endParaRPr lang="en-US"/>
        </a:p>
      </dgm:t>
    </dgm:pt>
    <dgm:pt modelId="{F6751DC2-F4C2-4189-AC92-E7394C566C2C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</dgm:t>
    </dgm:pt>
    <dgm:pt modelId="{F7137580-A8AF-4752-A40D-98E35649BEB2}" type="parTrans" cxnId="{1BADABF7-ECBA-49D3-BC35-41E45C43D45D}">
      <dgm:prSet/>
      <dgm:spPr/>
      <dgm:t>
        <a:bodyPr/>
        <a:lstStyle/>
        <a:p>
          <a:endParaRPr lang="en-US"/>
        </a:p>
      </dgm:t>
    </dgm:pt>
    <dgm:pt modelId="{83AADFCC-E7A0-458B-9F00-C5E6DBE53CA8}" type="sibTrans" cxnId="{1BADABF7-ECBA-49D3-BC35-41E45C43D45D}">
      <dgm:prSet/>
      <dgm:spPr/>
      <dgm:t>
        <a:bodyPr/>
        <a:lstStyle/>
        <a:p>
          <a:endParaRPr lang="en-US"/>
        </a:p>
      </dgm:t>
    </dgm:pt>
    <dgm:pt modelId="{2D8D6C85-D7D7-47F2-A0EF-B8883DF1B5BD}" type="pres">
      <dgm:prSet presAssocID="{F009BEF5-A90D-47A8-AECC-3AA1FDB644B1}" presName="linear" presStyleCnt="0">
        <dgm:presLayoutVars>
          <dgm:dir/>
          <dgm:animLvl val="lvl"/>
          <dgm:resizeHandles val="exact"/>
        </dgm:presLayoutVars>
      </dgm:prSet>
      <dgm:spPr/>
    </dgm:pt>
    <dgm:pt modelId="{D8C64A3A-5375-4D05-B8F7-A7CD8573E530}" type="pres">
      <dgm:prSet presAssocID="{D1AE86C4-1E93-439A-B71D-8D612420D623}" presName="parentLin" presStyleCnt="0"/>
      <dgm:spPr/>
    </dgm:pt>
    <dgm:pt modelId="{3D014819-C43B-44A3-BEEA-D10111919EDE}" type="pres">
      <dgm:prSet presAssocID="{D1AE86C4-1E93-439A-B71D-8D612420D623}" presName="parentLeftMargin" presStyleLbl="node1" presStyleIdx="0" presStyleCnt="3"/>
      <dgm:spPr/>
    </dgm:pt>
    <dgm:pt modelId="{CCDEA29F-1392-4961-A243-70174805EA95}" type="pres">
      <dgm:prSet presAssocID="{D1AE86C4-1E93-439A-B71D-8D612420D623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8BFB740-193F-4488-9BFC-5ADC5E856950}" type="pres">
      <dgm:prSet presAssocID="{D1AE86C4-1E93-439A-B71D-8D612420D623}" presName="negativeSpace" presStyleCnt="0"/>
      <dgm:spPr/>
    </dgm:pt>
    <dgm:pt modelId="{D8E93BCA-4615-456E-99E3-03FAB716A861}" type="pres">
      <dgm:prSet presAssocID="{D1AE86C4-1E93-439A-B71D-8D612420D623}" presName="childText" presStyleLbl="conFgAcc1" presStyleIdx="0" presStyleCnt="3">
        <dgm:presLayoutVars>
          <dgm:bulletEnabled val="1"/>
        </dgm:presLayoutVars>
      </dgm:prSet>
      <dgm:spPr/>
    </dgm:pt>
    <dgm:pt modelId="{A7F49BEF-DCBC-4211-BA7B-FFCCB36069A7}" type="pres">
      <dgm:prSet presAssocID="{830E81C5-0BD7-42B4-BC52-443DAAD9BDDA}" presName="spaceBetweenRectangles" presStyleCnt="0"/>
      <dgm:spPr/>
    </dgm:pt>
    <dgm:pt modelId="{37DD6D6F-1296-4229-9125-C8ADD4A66EE0}" type="pres">
      <dgm:prSet presAssocID="{DDD6D83C-FF74-4ABE-9FF3-9E9A3478EE7E}" presName="parentLin" presStyleCnt="0"/>
      <dgm:spPr/>
    </dgm:pt>
    <dgm:pt modelId="{07969BA0-1AE3-435B-A77A-0AFC638F6B3E}" type="pres">
      <dgm:prSet presAssocID="{DDD6D83C-FF74-4ABE-9FF3-9E9A3478EE7E}" presName="parentLeftMargin" presStyleLbl="node1" presStyleIdx="0" presStyleCnt="3"/>
      <dgm:spPr/>
    </dgm:pt>
    <dgm:pt modelId="{617F5106-3CAE-43BB-B769-E3F3AFA73F39}" type="pres">
      <dgm:prSet presAssocID="{DDD6D83C-FF74-4ABE-9FF3-9E9A3478EE7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9754934-A32C-48C9-B5A6-8087F53C70DB}" type="pres">
      <dgm:prSet presAssocID="{DDD6D83C-FF74-4ABE-9FF3-9E9A3478EE7E}" presName="negativeSpace" presStyleCnt="0"/>
      <dgm:spPr/>
    </dgm:pt>
    <dgm:pt modelId="{5C9F6AC1-5258-45F9-9CD2-B61B9ACFD1DA}" type="pres">
      <dgm:prSet presAssocID="{DDD6D83C-FF74-4ABE-9FF3-9E9A3478EE7E}" presName="childText" presStyleLbl="conFgAcc1" presStyleIdx="1" presStyleCnt="3">
        <dgm:presLayoutVars>
          <dgm:bulletEnabled val="1"/>
        </dgm:presLayoutVars>
      </dgm:prSet>
      <dgm:spPr/>
    </dgm:pt>
    <dgm:pt modelId="{CDFCCF12-6EA5-4FBF-9C68-990336A1D079}" type="pres">
      <dgm:prSet presAssocID="{CEB56071-3891-4386-BF5C-36A6161596FC}" presName="spaceBetweenRectangles" presStyleCnt="0"/>
      <dgm:spPr/>
    </dgm:pt>
    <dgm:pt modelId="{6BDF68BC-8331-4691-B30C-40FF9FB10C28}" type="pres">
      <dgm:prSet presAssocID="{1B4DBECF-84EF-4EB2-BC77-314B49D37DBC}" presName="parentLin" presStyleCnt="0"/>
      <dgm:spPr/>
    </dgm:pt>
    <dgm:pt modelId="{16EEC40E-0086-49EC-9B64-D5440266E1DF}" type="pres">
      <dgm:prSet presAssocID="{1B4DBECF-84EF-4EB2-BC77-314B49D37DBC}" presName="parentLeftMargin" presStyleLbl="node1" presStyleIdx="1" presStyleCnt="3"/>
      <dgm:spPr/>
    </dgm:pt>
    <dgm:pt modelId="{77CAFDF5-657D-424F-A6D0-10605489DECF}" type="pres">
      <dgm:prSet presAssocID="{1B4DBECF-84EF-4EB2-BC77-314B49D37DBC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8AF92B32-B825-48EE-B61A-8E0481CDF398}" type="pres">
      <dgm:prSet presAssocID="{1B4DBECF-84EF-4EB2-BC77-314B49D37DBC}" presName="negativeSpace" presStyleCnt="0"/>
      <dgm:spPr/>
    </dgm:pt>
    <dgm:pt modelId="{0E4A9C8B-2E35-435E-8A86-53C128AFAE24}" type="pres">
      <dgm:prSet presAssocID="{1B4DBECF-84EF-4EB2-BC77-314B49D37DBC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3C770000-9237-414A-A00E-5A9C9E09CAAC}" srcId="{DDD6D83C-FF74-4ABE-9FF3-9E9A3478EE7E}" destId="{050488E5-3636-4EB1-9784-DC79E24B6DD6}" srcOrd="1" destOrd="0" parTransId="{ED0A9CFC-7B59-4DEA-836D-7CDACB616DC0}" sibTransId="{49B2D4D0-E41F-4CE8-A955-964A593B5C36}"/>
    <dgm:cxn modelId="{7FB37B03-E42E-476F-A412-37B823CE90B2}" srcId="{DDD6D83C-FF74-4ABE-9FF3-9E9A3478EE7E}" destId="{5BF5D506-B762-4F89-81C4-62DEA450990C}" srcOrd="3" destOrd="0" parTransId="{A0F4A9C3-6B27-4893-BBC3-EFFFEA8F2513}" sibTransId="{7E33668C-40BF-4290-B612-C65930517F7B}"/>
    <dgm:cxn modelId="{25ADE315-19DC-44A1-9155-F73F02BA36E6}" srcId="{D1AE86C4-1E93-439A-B71D-8D612420D623}" destId="{729FFC2B-463C-4149-8C4D-1785B8DDF39E}" srcOrd="1" destOrd="0" parTransId="{91544730-F5BF-4AF0-B95F-26B374AAE84F}" sibTransId="{82B7297F-B791-42E5-9CD3-7638E7BF3EA0}"/>
    <dgm:cxn modelId="{BBE13D18-38E9-4A81-8453-60A71961A06B}" srcId="{1B4DBECF-84EF-4EB2-BC77-314B49D37DBC}" destId="{BC6384CC-3D02-4ED0-9864-259153BDF89D}" srcOrd="0" destOrd="0" parTransId="{AABDE076-DDE8-427C-929A-B82B17736439}" sibTransId="{0B15018F-ED30-43BA-87FC-B9D0B518D6EB}"/>
    <dgm:cxn modelId="{8A1AC119-8AC4-4D01-827E-83021EE4A898}" srcId="{D1AE86C4-1E93-439A-B71D-8D612420D623}" destId="{4F9111BB-AFBC-4E96-A32F-3FF69ED2B3B4}" srcOrd="3" destOrd="0" parTransId="{6020E87A-49DD-4F9E-B30A-1CA9B47E4CEF}" sibTransId="{0A3D8FAC-0AEE-4BA3-8198-D1B94A8609C1}"/>
    <dgm:cxn modelId="{4B709C1B-06C0-4B4D-8FE6-26511D29583A}" srcId="{1B4DBECF-84EF-4EB2-BC77-314B49D37DBC}" destId="{8200EC14-6AA7-4B23-A193-0F5D0EE844D7}" srcOrd="3" destOrd="0" parTransId="{BAE9925B-8B7D-4918-8E97-41BB5FC1F6E4}" sibTransId="{FA07A587-A1E6-4D0F-88FE-957B329CF352}"/>
    <dgm:cxn modelId="{CEF8B11B-9BF4-6545-B585-36E9155DE50B}" type="presOf" srcId="{1B4DBECF-84EF-4EB2-BC77-314B49D37DBC}" destId="{16EEC40E-0086-49EC-9B64-D5440266E1DF}" srcOrd="0" destOrd="0" presId="urn:microsoft.com/office/officeart/2005/8/layout/list1"/>
    <dgm:cxn modelId="{FDCEDF2D-6430-FB46-AA80-080E72FC7D8B}" type="presOf" srcId="{65A377BD-93A4-4E32-9472-D44185C61B78}" destId="{5C9F6AC1-5258-45F9-9CD2-B61B9ACFD1DA}" srcOrd="0" destOrd="0" presId="urn:microsoft.com/office/officeart/2005/8/layout/list1"/>
    <dgm:cxn modelId="{8AB2C12F-DA0E-3A44-ABDA-60A819D62F77}" type="presOf" srcId="{5524A7CA-F907-45E2-B850-EAACB3AA9172}" destId="{0E4A9C8B-2E35-435E-8A86-53C128AFAE24}" srcOrd="0" destOrd="1" presId="urn:microsoft.com/office/officeart/2005/8/layout/list1"/>
    <dgm:cxn modelId="{F9A76231-FA70-7240-BFFF-DD71DE550607}" type="presOf" srcId="{1B4DBECF-84EF-4EB2-BC77-314B49D37DBC}" destId="{77CAFDF5-657D-424F-A6D0-10605489DECF}" srcOrd="1" destOrd="0" presId="urn:microsoft.com/office/officeart/2005/8/layout/list1"/>
    <dgm:cxn modelId="{F3B68631-BCBE-6647-873A-B3EC9D8484A2}" type="presOf" srcId="{151DBECB-57D8-476F-BFF9-29AE4CC5D604}" destId="{D8E93BCA-4615-456E-99E3-03FAB716A861}" srcOrd="0" destOrd="5" presId="urn:microsoft.com/office/officeart/2005/8/layout/list1"/>
    <dgm:cxn modelId="{26C5B936-D2A3-C543-B571-71D1D0989234}" type="presOf" srcId="{7078EF3B-ACD7-474D-ACFA-623B92AD1418}" destId="{5C9F6AC1-5258-45F9-9CD2-B61B9ACFD1DA}" srcOrd="0" destOrd="5" presId="urn:microsoft.com/office/officeart/2005/8/layout/list1"/>
    <dgm:cxn modelId="{D32F3A37-3163-FF4E-B6E2-8E4D89F4F881}" type="presOf" srcId="{BC6384CC-3D02-4ED0-9864-259153BDF89D}" destId="{0E4A9C8B-2E35-435E-8A86-53C128AFAE24}" srcOrd="0" destOrd="0" presId="urn:microsoft.com/office/officeart/2005/8/layout/list1"/>
    <dgm:cxn modelId="{E79E5A39-D4B0-104E-8A54-9BBC920D460B}" type="presOf" srcId="{DDD6D83C-FF74-4ABE-9FF3-9E9A3478EE7E}" destId="{07969BA0-1AE3-435B-A77A-0AFC638F6B3E}" srcOrd="0" destOrd="0" presId="urn:microsoft.com/office/officeart/2005/8/layout/list1"/>
    <dgm:cxn modelId="{7BC5F439-1A1B-47D9-8BEE-0C26AAEEB338}" srcId="{DDD6D83C-FF74-4ABE-9FF3-9E9A3478EE7E}" destId="{65A377BD-93A4-4E32-9472-D44185C61B78}" srcOrd="0" destOrd="0" parTransId="{E55E6F71-596D-422C-BF44-1DA667BD75CC}" sibTransId="{60652AD0-F60C-4B39-AA03-7D25A5899292}"/>
    <dgm:cxn modelId="{5E487F5D-4E15-8B47-A9CC-29C9B6B5C995}" type="presOf" srcId="{5BF5D506-B762-4F89-81C4-62DEA450990C}" destId="{5C9F6AC1-5258-45F9-9CD2-B61B9ACFD1DA}" srcOrd="0" destOrd="3" presId="urn:microsoft.com/office/officeart/2005/8/layout/list1"/>
    <dgm:cxn modelId="{77E3105F-BFB4-6640-9FFD-06882480CC49}" type="presOf" srcId="{4F9111BB-AFBC-4E96-A32F-3FF69ED2B3B4}" destId="{D8E93BCA-4615-456E-99E3-03FAB716A861}" srcOrd="0" destOrd="3" presId="urn:microsoft.com/office/officeart/2005/8/layout/list1"/>
    <dgm:cxn modelId="{56139B43-DAC8-2446-B420-E608F345D5D2}" type="presOf" srcId="{1CE36F42-D7DC-4D71-BA1B-ADC82CB45438}" destId="{D8E93BCA-4615-456E-99E3-03FAB716A861}" srcOrd="0" destOrd="7" presId="urn:microsoft.com/office/officeart/2005/8/layout/list1"/>
    <dgm:cxn modelId="{8883B644-8B86-4592-B47E-B3A5982CA1E7}" srcId="{D1AE86C4-1E93-439A-B71D-8D612420D623}" destId="{4829EE45-D244-49B8-9354-0D05CFD26E05}" srcOrd="6" destOrd="0" parTransId="{DBFB2F81-CC50-4C26-A992-61B1FE307131}" sibTransId="{7EF93623-EBE9-4D24-B4B4-B8564E945BBC}"/>
    <dgm:cxn modelId="{30CD0945-90BA-A84D-AED4-E64F73BE1B9E}" type="presOf" srcId="{0F9C4FC0-2B13-439D-BFC7-B15D79616192}" destId="{D8E93BCA-4615-456E-99E3-03FAB716A861}" srcOrd="0" destOrd="8" presId="urn:microsoft.com/office/officeart/2005/8/layout/list1"/>
    <dgm:cxn modelId="{1B8C336C-76F7-4B4A-8D87-A21803B4158B}" type="presOf" srcId="{806A8ACC-38CB-4453-A799-D97E04349299}" destId="{D8E93BCA-4615-456E-99E3-03FAB716A861}" srcOrd="0" destOrd="2" presId="urn:microsoft.com/office/officeart/2005/8/layout/list1"/>
    <dgm:cxn modelId="{82153E6C-7D1B-964C-9325-E6F5469839D8}" type="presOf" srcId="{F009BEF5-A90D-47A8-AECC-3AA1FDB644B1}" destId="{2D8D6C85-D7D7-47F2-A0EF-B8883DF1B5BD}" srcOrd="0" destOrd="0" presId="urn:microsoft.com/office/officeart/2005/8/layout/list1"/>
    <dgm:cxn modelId="{56A0284E-8396-4BCF-857C-CD46614A42C8}" srcId="{D1AE86C4-1E93-439A-B71D-8D612420D623}" destId="{47A172AB-B37C-4806-BB5C-8FD462539390}" srcOrd="0" destOrd="0" parTransId="{30CFA7D6-84FB-44FF-9581-890D75214057}" sibTransId="{F09AFA39-E447-4233-AC77-5A9604F63BBA}"/>
    <dgm:cxn modelId="{DA55836F-1A7A-49C2-B1F7-D818FD9119CA}" srcId="{F009BEF5-A90D-47A8-AECC-3AA1FDB644B1}" destId="{D1AE86C4-1E93-439A-B71D-8D612420D623}" srcOrd="0" destOrd="0" parTransId="{C3F6F18E-1C18-4ACA-B521-F34B23B322A1}" sibTransId="{830E81C5-0BD7-42B4-BC52-443DAAD9BDDA}"/>
    <dgm:cxn modelId="{5F712A54-8442-8A46-9BA9-D12A83FFD77E}" type="presOf" srcId="{D1AE86C4-1E93-439A-B71D-8D612420D623}" destId="{CCDEA29F-1392-4961-A243-70174805EA95}" srcOrd="1" destOrd="0" presId="urn:microsoft.com/office/officeart/2005/8/layout/list1"/>
    <dgm:cxn modelId="{37554F83-1ACE-BC4D-B68A-E0492E523884}" type="presOf" srcId="{4829EE45-D244-49B8-9354-0D05CFD26E05}" destId="{D8E93BCA-4615-456E-99E3-03FAB716A861}" srcOrd="0" destOrd="6" presId="urn:microsoft.com/office/officeart/2005/8/layout/list1"/>
    <dgm:cxn modelId="{CD96D389-C815-451E-AE08-B83632662E18}" srcId="{D1AE86C4-1E93-439A-B71D-8D612420D623}" destId="{151DBECB-57D8-476F-BFF9-29AE4CC5D604}" srcOrd="5" destOrd="0" parTransId="{0BEE2F34-39ED-4694-A11F-DBE74B0A5657}" sibTransId="{120F024A-602E-4BAE-8396-D8E0284CC7F8}"/>
    <dgm:cxn modelId="{C769A590-74C4-2A41-A546-C79AB02B698B}" type="presOf" srcId="{47A172AB-B37C-4806-BB5C-8FD462539390}" destId="{D8E93BCA-4615-456E-99E3-03FAB716A861}" srcOrd="0" destOrd="0" presId="urn:microsoft.com/office/officeart/2005/8/layout/list1"/>
    <dgm:cxn modelId="{54B7D395-CD1B-214C-B292-FA5947600511}" type="presOf" srcId="{DDD6D83C-FF74-4ABE-9FF3-9E9A3478EE7E}" destId="{617F5106-3CAE-43BB-B769-E3F3AFA73F39}" srcOrd="1" destOrd="0" presId="urn:microsoft.com/office/officeart/2005/8/layout/list1"/>
    <dgm:cxn modelId="{06FC2196-3E51-BF4A-90A8-56AB511F112C}" type="presOf" srcId="{17CAE0E6-5D59-41C5-81A9-68FD55840DFC}" destId="{0E4A9C8B-2E35-435E-8A86-53C128AFAE24}" srcOrd="0" destOrd="2" presId="urn:microsoft.com/office/officeart/2005/8/layout/list1"/>
    <dgm:cxn modelId="{99A36D96-C67C-402C-B18C-2ACA535F2EFE}" srcId="{1B4DBECF-84EF-4EB2-BC77-314B49D37DBC}" destId="{17CAE0E6-5D59-41C5-81A9-68FD55840DFC}" srcOrd="2" destOrd="0" parTransId="{9A5C9A48-C3C2-4E46-8EF3-19DD4312F30A}" sibTransId="{B221E953-624B-4D9F-B578-80737532E64E}"/>
    <dgm:cxn modelId="{8CE01A9F-718D-0748-A81A-D73EAE831025}" type="presOf" srcId="{050488E5-3636-4EB1-9784-DC79E24B6DD6}" destId="{5C9F6AC1-5258-45F9-9CD2-B61B9ACFD1DA}" srcOrd="0" destOrd="1" presId="urn:microsoft.com/office/officeart/2005/8/layout/list1"/>
    <dgm:cxn modelId="{196D74A8-33F2-4DB2-8735-C6D5A344FBF7}" srcId="{1B4DBECF-84EF-4EB2-BC77-314B49D37DBC}" destId="{5524A7CA-F907-45E2-B850-EAACB3AA9172}" srcOrd="1" destOrd="0" parTransId="{C1AFCFD1-553A-45A2-B51B-537B4B8E673E}" sibTransId="{177163CD-F1B3-4EDD-8033-F609F94C5819}"/>
    <dgm:cxn modelId="{8B2CBAAD-3E84-455F-B4D0-FE26A1721FFE}" srcId="{F009BEF5-A90D-47A8-AECC-3AA1FDB644B1}" destId="{DDD6D83C-FF74-4ABE-9FF3-9E9A3478EE7E}" srcOrd="1" destOrd="0" parTransId="{53D3E100-86B2-429C-80A2-B98B3E6DC7B3}" sibTransId="{CEB56071-3891-4386-BF5C-36A6161596FC}"/>
    <dgm:cxn modelId="{56530FB1-69A7-084D-B0BE-6ED47AA323C7}" type="presOf" srcId="{8B5D2332-E14A-49FB-B387-618BD17D3D05}" destId="{D8E93BCA-4615-456E-99E3-03FAB716A861}" srcOrd="0" destOrd="4" presId="urn:microsoft.com/office/officeart/2005/8/layout/list1"/>
    <dgm:cxn modelId="{7AD4ABB1-4A02-43A9-9E36-8AD8CAB03360}" srcId="{F009BEF5-A90D-47A8-AECC-3AA1FDB644B1}" destId="{1B4DBECF-84EF-4EB2-BC77-314B49D37DBC}" srcOrd="2" destOrd="0" parTransId="{123524FD-027D-434C-B98C-4F4F0999630D}" sibTransId="{1C4310A5-F54E-4724-837E-7FAADC0951FB}"/>
    <dgm:cxn modelId="{5F3345B5-7585-A349-91C2-3B52A6CB9D32}" type="presOf" srcId="{AEE9FCE2-31C0-423F-AA09-B68173514C78}" destId="{5C9F6AC1-5258-45F9-9CD2-B61B9ACFD1DA}" srcOrd="0" destOrd="4" presId="urn:microsoft.com/office/officeart/2005/8/layout/list1"/>
    <dgm:cxn modelId="{58D3FCC2-1E71-483E-BB32-F923471EFFDF}" srcId="{DDD6D83C-FF74-4ABE-9FF3-9E9A3478EE7E}" destId="{7078EF3B-ACD7-474D-ACFA-623B92AD1418}" srcOrd="5" destOrd="0" parTransId="{E548236D-2130-4AE4-BAFB-17FCF5DDF215}" sibTransId="{163FD4A6-A1A1-4C21-A79F-08D01EEE0E4B}"/>
    <dgm:cxn modelId="{47B24AC6-5177-475E-9F84-F965BA754571}" srcId="{D1AE86C4-1E93-439A-B71D-8D612420D623}" destId="{0F9C4FC0-2B13-439D-BFC7-B15D79616192}" srcOrd="8" destOrd="0" parTransId="{3F3298BF-459C-4161-81BB-19BB4C07EC6A}" sibTransId="{6FE34282-3496-476C-897E-07290560DEC0}"/>
    <dgm:cxn modelId="{F261CCD0-8433-4253-8E44-8EBC2176DF98}" srcId="{D1AE86C4-1E93-439A-B71D-8D612420D623}" destId="{806A8ACC-38CB-4453-A799-D97E04349299}" srcOrd="2" destOrd="0" parTransId="{9E2E221A-B002-43FC-B150-CB200559AB86}" sibTransId="{64CED999-F5C2-4BA3-A3B2-73A182157F48}"/>
    <dgm:cxn modelId="{3728F6D8-9790-8B4A-920B-8D8875774451}" type="presOf" srcId="{729FFC2B-463C-4149-8C4D-1785B8DDF39E}" destId="{D8E93BCA-4615-456E-99E3-03FAB716A861}" srcOrd="0" destOrd="1" presId="urn:microsoft.com/office/officeart/2005/8/layout/list1"/>
    <dgm:cxn modelId="{873B97E2-72F2-924D-85E6-C6136BD94FA4}" type="presOf" srcId="{F6751DC2-F4C2-4189-AC92-E7394C566C2C}" destId="{5C9F6AC1-5258-45F9-9CD2-B61B9ACFD1DA}" srcOrd="0" destOrd="2" presId="urn:microsoft.com/office/officeart/2005/8/layout/list1"/>
    <dgm:cxn modelId="{C5304CE7-2B2F-4692-A4B2-07DE78C67408}" srcId="{D1AE86C4-1E93-439A-B71D-8D612420D623}" destId="{8B5D2332-E14A-49FB-B387-618BD17D3D05}" srcOrd="4" destOrd="0" parTransId="{8C47B8B1-B46B-4019-9B2E-C12C59A89528}" sibTransId="{9EE22BD3-8EAE-4AA0-97F3-9E962277BC99}"/>
    <dgm:cxn modelId="{A9ADBCEB-8458-4E85-92C4-463794014881}" srcId="{DDD6D83C-FF74-4ABE-9FF3-9E9A3478EE7E}" destId="{AEE9FCE2-31C0-423F-AA09-B68173514C78}" srcOrd="4" destOrd="0" parTransId="{35E2CC63-0128-4EF9-B33D-4376A8C72443}" sibTransId="{446F8BCE-9B3A-46AA-8F45-5AA8B662BC8E}"/>
    <dgm:cxn modelId="{03A3BCEF-2C66-B34B-B1E3-8A4B9CAF5AAD}" type="presOf" srcId="{D1AE86C4-1E93-439A-B71D-8D612420D623}" destId="{3D014819-C43B-44A3-BEEA-D10111919EDE}" srcOrd="0" destOrd="0" presId="urn:microsoft.com/office/officeart/2005/8/layout/list1"/>
    <dgm:cxn modelId="{2E0001F6-5294-48E4-9116-12FBA92BB0B7}" srcId="{D1AE86C4-1E93-439A-B71D-8D612420D623}" destId="{1CE36F42-D7DC-4D71-BA1B-ADC82CB45438}" srcOrd="7" destOrd="0" parTransId="{AA79F45A-845B-4D2F-8A6E-1C7E322D4A18}" sibTransId="{6EF510E4-0126-4874-99CC-F9994CF9A238}"/>
    <dgm:cxn modelId="{1BADABF7-ECBA-49D3-BC35-41E45C43D45D}" srcId="{DDD6D83C-FF74-4ABE-9FF3-9E9A3478EE7E}" destId="{F6751DC2-F4C2-4189-AC92-E7394C566C2C}" srcOrd="2" destOrd="0" parTransId="{F7137580-A8AF-4752-A40D-98E35649BEB2}" sibTransId="{83AADFCC-E7A0-458B-9F00-C5E6DBE53CA8}"/>
    <dgm:cxn modelId="{DD6404F9-67FD-4058-826D-A10D666690C5}" srcId="{DDD6D83C-FF74-4ABE-9FF3-9E9A3478EE7E}" destId="{C48C1869-3F1C-481E-BA45-9F700BE019E9}" srcOrd="6" destOrd="0" parTransId="{ED9D179A-E07B-4C7E-BE97-364747636704}" sibTransId="{0CCD137D-F59A-4AC9-9781-C4E4196427A6}"/>
    <dgm:cxn modelId="{2430C3FC-1B5D-C44E-91DE-A8587FEA2995}" type="presOf" srcId="{C48C1869-3F1C-481E-BA45-9F700BE019E9}" destId="{5C9F6AC1-5258-45F9-9CD2-B61B9ACFD1DA}" srcOrd="0" destOrd="6" presId="urn:microsoft.com/office/officeart/2005/8/layout/list1"/>
    <dgm:cxn modelId="{77868DFE-5855-9844-8325-5A93CDEE96BB}" type="presOf" srcId="{8200EC14-6AA7-4B23-A193-0F5D0EE844D7}" destId="{0E4A9C8B-2E35-435E-8A86-53C128AFAE24}" srcOrd="0" destOrd="3" presId="urn:microsoft.com/office/officeart/2005/8/layout/list1"/>
    <dgm:cxn modelId="{1EEB3823-6411-0C49-BFAD-CBC41C5FDCCB}" type="presParOf" srcId="{2D8D6C85-D7D7-47F2-A0EF-B8883DF1B5BD}" destId="{D8C64A3A-5375-4D05-B8F7-A7CD8573E530}" srcOrd="0" destOrd="0" presId="urn:microsoft.com/office/officeart/2005/8/layout/list1"/>
    <dgm:cxn modelId="{64A4267C-52C0-B64D-AA32-7BF717C80072}" type="presParOf" srcId="{D8C64A3A-5375-4D05-B8F7-A7CD8573E530}" destId="{3D014819-C43B-44A3-BEEA-D10111919EDE}" srcOrd="0" destOrd="0" presId="urn:microsoft.com/office/officeart/2005/8/layout/list1"/>
    <dgm:cxn modelId="{8B741C6A-256B-304D-A061-09C617F9011E}" type="presParOf" srcId="{D8C64A3A-5375-4D05-B8F7-A7CD8573E530}" destId="{CCDEA29F-1392-4961-A243-70174805EA95}" srcOrd="1" destOrd="0" presId="urn:microsoft.com/office/officeart/2005/8/layout/list1"/>
    <dgm:cxn modelId="{CFAA35D1-15CB-D14A-8830-F6CE6B49456E}" type="presParOf" srcId="{2D8D6C85-D7D7-47F2-A0EF-B8883DF1B5BD}" destId="{B8BFB740-193F-4488-9BFC-5ADC5E856950}" srcOrd="1" destOrd="0" presId="urn:microsoft.com/office/officeart/2005/8/layout/list1"/>
    <dgm:cxn modelId="{168C417F-0C6A-9849-BCCC-CB5825CB13AF}" type="presParOf" srcId="{2D8D6C85-D7D7-47F2-A0EF-B8883DF1B5BD}" destId="{D8E93BCA-4615-456E-99E3-03FAB716A861}" srcOrd="2" destOrd="0" presId="urn:microsoft.com/office/officeart/2005/8/layout/list1"/>
    <dgm:cxn modelId="{83118313-B72D-314B-8CCB-2E10260F5A8F}" type="presParOf" srcId="{2D8D6C85-D7D7-47F2-A0EF-B8883DF1B5BD}" destId="{A7F49BEF-DCBC-4211-BA7B-FFCCB36069A7}" srcOrd="3" destOrd="0" presId="urn:microsoft.com/office/officeart/2005/8/layout/list1"/>
    <dgm:cxn modelId="{17A7E897-3131-364A-BDF7-1B981AF112EC}" type="presParOf" srcId="{2D8D6C85-D7D7-47F2-A0EF-B8883DF1B5BD}" destId="{37DD6D6F-1296-4229-9125-C8ADD4A66EE0}" srcOrd="4" destOrd="0" presId="urn:microsoft.com/office/officeart/2005/8/layout/list1"/>
    <dgm:cxn modelId="{30FB684C-4776-E547-B48D-848EC9FAE8A7}" type="presParOf" srcId="{37DD6D6F-1296-4229-9125-C8ADD4A66EE0}" destId="{07969BA0-1AE3-435B-A77A-0AFC638F6B3E}" srcOrd="0" destOrd="0" presId="urn:microsoft.com/office/officeart/2005/8/layout/list1"/>
    <dgm:cxn modelId="{D6D2BD92-65E6-514A-8AC0-CD47792DB1A0}" type="presParOf" srcId="{37DD6D6F-1296-4229-9125-C8ADD4A66EE0}" destId="{617F5106-3CAE-43BB-B769-E3F3AFA73F39}" srcOrd="1" destOrd="0" presId="urn:microsoft.com/office/officeart/2005/8/layout/list1"/>
    <dgm:cxn modelId="{91E61B6C-C7F7-6445-BF36-C1289378AA81}" type="presParOf" srcId="{2D8D6C85-D7D7-47F2-A0EF-B8883DF1B5BD}" destId="{79754934-A32C-48C9-B5A6-8087F53C70DB}" srcOrd="5" destOrd="0" presId="urn:microsoft.com/office/officeart/2005/8/layout/list1"/>
    <dgm:cxn modelId="{687B09BA-C01C-DD4E-9386-1B47CE9F7430}" type="presParOf" srcId="{2D8D6C85-D7D7-47F2-A0EF-B8883DF1B5BD}" destId="{5C9F6AC1-5258-45F9-9CD2-B61B9ACFD1DA}" srcOrd="6" destOrd="0" presId="urn:microsoft.com/office/officeart/2005/8/layout/list1"/>
    <dgm:cxn modelId="{9A238253-776A-DB48-9629-8F639BED97E2}" type="presParOf" srcId="{2D8D6C85-D7D7-47F2-A0EF-B8883DF1B5BD}" destId="{CDFCCF12-6EA5-4FBF-9C68-990336A1D079}" srcOrd="7" destOrd="0" presId="urn:microsoft.com/office/officeart/2005/8/layout/list1"/>
    <dgm:cxn modelId="{286A36EF-5DCF-9E48-9C23-3978E040B504}" type="presParOf" srcId="{2D8D6C85-D7D7-47F2-A0EF-B8883DF1B5BD}" destId="{6BDF68BC-8331-4691-B30C-40FF9FB10C28}" srcOrd="8" destOrd="0" presId="urn:microsoft.com/office/officeart/2005/8/layout/list1"/>
    <dgm:cxn modelId="{21C5BA33-E24F-664F-860D-E97CADDD230A}" type="presParOf" srcId="{6BDF68BC-8331-4691-B30C-40FF9FB10C28}" destId="{16EEC40E-0086-49EC-9B64-D5440266E1DF}" srcOrd="0" destOrd="0" presId="urn:microsoft.com/office/officeart/2005/8/layout/list1"/>
    <dgm:cxn modelId="{01D799C4-7C54-D04B-834B-74F00F31BDF5}" type="presParOf" srcId="{6BDF68BC-8331-4691-B30C-40FF9FB10C28}" destId="{77CAFDF5-657D-424F-A6D0-10605489DECF}" srcOrd="1" destOrd="0" presId="urn:microsoft.com/office/officeart/2005/8/layout/list1"/>
    <dgm:cxn modelId="{42366EDB-0EA9-7948-AF3F-FF022F8A5889}" type="presParOf" srcId="{2D8D6C85-D7D7-47F2-A0EF-B8883DF1B5BD}" destId="{8AF92B32-B825-48EE-B61A-8E0481CDF398}" srcOrd="9" destOrd="0" presId="urn:microsoft.com/office/officeart/2005/8/layout/list1"/>
    <dgm:cxn modelId="{54082BA4-F182-8F48-B5B4-782E41EE8863}" type="presParOf" srcId="{2D8D6C85-D7D7-47F2-A0EF-B8883DF1B5BD}" destId="{0E4A9C8B-2E35-435E-8A86-53C128AFAE2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993E843-4813-4EE4-BC40-71AD38F8052B}" type="doc">
      <dgm:prSet loTypeId="urn:microsoft.com/office/officeart/2005/8/layout/list1" loCatId="list" qsTypeId="urn:microsoft.com/office/officeart/2005/8/quickstyle/simple1" qsCatId="simple" csTypeId="urn:microsoft.com/office/officeart/2005/8/colors/accent4_2" csCatId="accent4"/>
      <dgm:spPr/>
      <dgm:t>
        <a:bodyPr/>
        <a:lstStyle/>
        <a:p>
          <a:endParaRPr lang="en-US"/>
        </a:p>
      </dgm:t>
    </dgm:pt>
    <dgm:pt modelId="{3D6A9201-5C71-47C3-BFC7-9D886ACCCF25}">
      <dgm:prSet/>
      <dgm:spPr/>
      <dgm:t>
        <a:bodyPr/>
        <a:lstStyle/>
        <a:p>
          <a:r>
            <a:rPr lang="en-US" b="1" i="0"/>
            <a:t>Version Control:</a:t>
          </a:r>
          <a:endParaRPr lang="en-US"/>
        </a:p>
      </dgm:t>
    </dgm:pt>
    <dgm:pt modelId="{08F47C77-521D-4B33-994F-04076E18EC81}" type="parTrans" cxnId="{759EA5A7-AF2D-4580-9167-2C9F7C2FF32F}">
      <dgm:prSet/>
      <dgm:spPr/>
      <dgm:t>
        <a:bodyPr/>
        <a:lstStyle/>
        <a:p>
          <a:endParaRPr lang="en-US"/>
        </a:p>
      </dgm:t>
    </dgm:pt>
    <dgm:pt modelId="{808F04F5-648B-4671-B3EA-E6B0DF4F9198}" type="sibTrans" cxnId="{759EA5A7-AF2D-4580-9167-2C9F7C2FF32F}">
      <dgm:prSet/>
      <dgm:spPr/>
      <dgm:t>
        <a:bodyPr/>
        <a:lstStyle/>
        <a:p>
          <a:endParaRPr lang="en-US"/>
        </a:p>
      </dgm:t>
    </dgm:pt>
    <dgm:pt modelId="{04FCF54A-7CEC-42D5-A38E-6B95B9E52516}">
      <dgm:prSet/>
      <dgm:spPr/>
      <dgm:t>
        <a:bodyPr/>
        <a:lstStyle/>
        <a:p>
          <a:r>
            <a:rPr lang="en-US" b="0" i="0"/>
            <a:t>Utilize Git for tracking changes, collaboration, and code history management.</a:t>
          </a:r>
          <a:endParaRPr lang="en-US"/>
        </a:p>
      </dgm:t>
    </dgm:pt>
    <dgm:pt modelId="{14CD16E1-AAE8-450C-8D22-E7B0A0FCBF8D}" type="parTrans" cxnId="{741015E7-C31B-481C-881C-77124664117F}">
      <dgm:prSet/>
      <dgm:spPr/>
      <dgm:t>
        <a:bodyPr/>
        <a:lstStyle/>
        <a:p>
          <a:endParaRPr lang="en-US"/>
        </a:p>
      </dgm:t>
    </dgm:pt>
    <dgm:pt modelId="{77B5C332-66E6-4359-A235-D103C291E521}" type="sibTrans" cxnId="{741015E7-C31B-481C-881C-77124664117F}">
      <dgm:prSet/>
      <dgm:spPr/>
      <dgm:t>
        <a:bodyPr/>
        <a:lstStyle/>
        <a:p>
          <a:endParaRPr lang="en-US"/>
        </a:p>
      </dgm:t>
    </dgm:pt>
    <dgm:pt modelId="{E3DA999B-D3ED-4875-946A-8F3C50CABFC6}">
      <dgm:prSet/>
      <dgm:spPr/>
      <dgm:t>
        <a:bodyPr/>
        <a:lstStyle/>
        <a:p>
          <a:r>
            <a:rPr lang="en-US" b="0" i="0"/>
            <a:t>Employ branching for new features and bug fixes, utilizing pull requests for code reviews.</a:t>
          </a:r>
          <a:endParaRPr lang="en-US"/>
        </a:p>
      </dgm:t>
    </dgm:pt>
    <dgm:pt modelId="{66A22E81-ACFF-44E5-A51D-CB11D1BF4EB0}" type="parTrans" cxnId="{0241C7CF-1341-4017-895C-23E3023615FA}">
      <dgm:prSet/>
      <dgm:spPr/>
      <dgm:t>
        <a:bodyPr/>
        <a:lstStyle/>
        <a:p>
          <a:endParaRPr lang="en-US"/>
        </a:p>
      </dgm:t>
    </dgm:pt>
    <dgm:pt modelId="{A72F0767-193C-4958-9BA0-11C031B9616E}" type="sibTrans" cxnId="{0241C7CF-1341-4017-895C-23E3023615FA}">
      <dgm:prSet/>
      <dgm:spPr/>
      <dgm:t>
        <a:bodyPr/>
        <a:lstStyle/>
        <a:p>
          <a:endParaRPr lang="en-US"/>
        </a:p>
      </dgm:t>
    </dgm:pt>
    <dgm:pt modelId="{2011968D-A243-4D51-9AA7-EC2D4822BF2E}">
      <dgm:prSet/>
      <dgm:spPr/>
      <dgm:t>
        <a:bodyPr/>
        <a:lstStyle/>
        <a:p>
          <a:r>
            <a:rPr lang="en-US" b="1" i="0"/>
            <a:t>CI/CD Integration:</a:t>
          </a:r>
          <a:endParaRPr lang="en-US"/>
        </a:p>
      </dgm:t>
    </dgm:pt>
    <dgm:pt modelId="{3BDCE845-0719-4992-BC34-C13108FE22CE}" type="parTrans" cxnId="{C0948E5E-CFC1-45A3-9010-53D841D0577D}">
      <dgm:prSet/>
      <dgm:spPr/>
      <dgm:t>
        <a:bodyPr/>
        <a:lstStyle/>
        <a:p>
          <a:endParaRPr lang="en-US"/>
        </a:p>
      </dgm:t>
    </dgm:pt>
    <dgm:pt modelId="{E1AAFBCE-584D-4211-BA8F-3B311DC4B694}" type="sibTrans" cxnId="{C0948E5E-CFC1-45A3-9010-53D841D0577D}">
      <dgm:prSet/>
      <dgm:spPr/>
      <dgm:t>
        <a:bodyPr/>
        <a:lstStyle/>
        <a:p>
          <a:endParaRPr lang="en-US"/>
        </a:p>
      </dgm:t>
    </dgm:pt>
    <dgm:pt modelId="{43289665-8A1A-41A7-808F-A5D4AE388579}">
      <dgm:prSet/>
      <dgm:spPr/>
      <dgm:t>
        <a:bodyPr/>
        <a:lstStyle/>
        <a:p>
          <a:r>
            <a:rPr lang="en-US" b="0" i="0"/>
            <a:t>Implement CI/CD pipelines to automate build, test, and deployment processes.</a:t>
          </a:r>
          <a:endParaRPr lang="en-US"/>
        </a:p>
      </dgm:t>
    </dgm:pt>
    <dgm:pt modelId="{DC6404AE-A3C1-42BE-9DD9-F6E2B962F319}" type="parTrans" cxnId="{FB1DE2CB-B9AE-45CD-8238-EFEF791BBC73}">
      <dgm:prSet/>
      <dgm:spPr/>
      <dgm:t>
        <a:bodyPr/>
        <a:lstStyle/>
        <a:p>
          <a:endParaRPr lang="en-US"/>
        </a:p>
      </dgm:t>
    </dgm:pt>
    <dgm:pt modelId="{C61767CA-9CA1-4713-9E2C-3B8C6DFADC5F}" type="sibTrans" cxnId="{FB1DE2CB-B9AE-45CD-8238-EFEF791BBC73}">
      <dgm:prSet/>
      <dgm:spPr/>
      <dgm:t>
        <a:bodyPr/>
        <a:lstStyle/>
        <a:p>
          <a:endParaRPr lang="en-US"/>
        </a:p>
      </dgm:t>
    </dgm:pt>
    <dgm:pt modelId="{00B75BED-7872-4FDC-951D-C8A04F721710}">
      <dgm:prSet/>
      <dgm:spPr/>
      <dgm:t>
        <a:bodyPr/>
        <a:lstStyle/>
        <a:p>
          <a:r>
            <a:rPr lang="en-US" b="0" i="0"/>
            <a:t>Embrace frequent code deployment to minimize integration issues.</a:t>
          </a:r>
          <a:endParaRPr lang="en-US"/>
        </a:p>
      </dgm:t>
    </dgm:pt>
    <dgm:pt modelId="{54DD6DE9-53F7-405D-907E-8DB6A8E2FA71}" type="parTrans" cxnId="{92B04B0B-C802-4071-8DF7-4067CFDD0489}">
      <dgm:prSet/>
      <dgm:spPr/>
      <dgm:t>
        <a:bodyPr/>
        <a:lstStyle/>
        <a:p>
          <a:endParaRPr lang="en-US"/>
        </a:p>
      </dgm:t>
    </dgm:pt>
    <dgm:pt modelId="{A4FD0448-D8D4-467B-9161-F71D3BE7B6A5}" type="sibTrans" cxnId="{92B04B0B-C802-4071-8DF7-4067CFDD0489}">
      <dgm:prSet/>
      <dgm:spPr/>
      <dgm:t>
        <a:bodyPr/>
        <a:lstStyle/>
        <a:p>
          <a:endParaRPr lang="en-US"/>
        </a:p>
      </dgm:t>
    </dgm:pt>
    <dgm:pt modelId="{A6FF8CFE-03DC-4E79-A481-430964D0860F}">
      <dgm:prSet/>
      <dgm:spPr/>
      <dgm:t>
        <a:bodyPr/>
        <a:lstStyle/>
        <a:p>
          <a:r>
            <a:rPr lang="en-US" b="1" i="0"/>
            <a:t>Code Quality and Testing:</a:t>
          </a:r>
          <a:endParaRPr lang="en-US"/>
        </a:p>
      </dgm:t>
    </dgm:pt>
    <dgm:pt modelId="{1242AA13-802C-4AE6-93D0-38CF940FF569}" type="parTrans" cxnId="{536408A1-4EAD-46CA-A903-CBC560921AA3}">
      <dgm:prSet/>
      <dgm:spPr/>
      <dgm:t>
        <a:bodyPr/>
        <a:lstStyle/>
        <a:p>
          <a:endParaRPr lang="en-US"/>
        </a:p>
      </dgm:t>
    </dgm:pt>
    <dgm:pt modelId="{D3FEFF40-4342-4323-B9E6-EEA3AEE6E55F}" type="sibTrans" cxnId="{536408A1-4EAD-46CA-A903-CBC560921AA3}">
      <dgm:prSet/>
      <dgm:spPr/>
      <dgm:t>
        <a:bodyPr/>
        <a:lstStyle/>
        <a:p>
          <a:endParaRPr lang="en-US"/>
        </a:p>
      </dgm:t>
    </dgm:pt>
    <dgm:pt modelId="{237664F5-27E0-4760-BA8E-D8C88EAC2C0C}">
      <dgm:prSet/>
      <dgm:spPr/>
      <dgm:t>
        <a:bodyPr/>
        <a:lstStyle/>
        <a:p>
          <a:r>
            <a:rPr lang="en-US" b="0" i="0"/>
            <a:t>Integrate SonarQube for continuous code quality inspection.</a:t>
          </a:r>
          <a:endParaRPr lang="en-US"/>
        </a:p>
      </dgm:t>
    </dgm:pt>
    <dgm:pt modelId="{F6CB8190-6BA6-4ADD-B725-AFA069509921}" type="parTrans" cxnId="{B6299B26-1586-4133-B6E6-B04C2EA81A1C}">
      <dgm:prSet/>
      <dgm:spPr/>
      <dgm:t>
        <a:bodyPr/>
        <a:lstStyle/>
        <a:p>
          <a:endParaRPr lang="en-US"/>
        </a:p>
      </dgm:t>
    </dgm:pt>
    <dgm:pt modelId="{D4175DF5-C121-4C35-9409-F5904B0AC890}" type="sibTrans" cxnId="{B6299B26-1586-4133-B6E6-B04C2EA81A1C}">
      <dgm:prSet/>
      <dgm:spPr/>
      <dgm:t>
        <a:bodyPr/>
        <a:lstStyle/>
        <a:p>
          <a:endParaRPr lang="en-US"/>
        </a:p>
      </dgm:t>
    </dgm:pt>
    <dgm:pt modelId="{C7938224-E138-4F6D-87D0-FF63115A9C90}">
      <dgm:prSet/>
      <dgm:spPr/>
      <dgm:t>
        <a:bodyPr/>
        <a:lstStyle/>
        <a:p>
          <a:r>
            <a:rPr lang="en-US" b="0" i="0"/>
            <a:t>Address issues identified by SonarQube to maintain high code standards.</a:t>
          </a:r>
          <a:endParaRPr lang="en-US"/>
        </a:p>
      </dgm:t>
    </dgm:pt>
    <dgm:pt modelId="{4318F8EC-BFB8-4D9D-B625-9D9BA3CF6021}" type="parTrans" cxnId="{775E1B8E-0364-4F6D-996E-A6CD9951B3CB}">
      <dgm:prSet/>
      <dgm:spPr/>
      <dgm:t>
        <a:bodyPr/>
        <a:lstStyle/>
        <a:p>
          <a:endParaRPr lang="en-US"/>
        </a:p>
      </dgm:t>
    </dgm:pt>
    <dgm:pt modelId="{2B7DF7C5-CE67-4CBB-A40A-EFAC047C222B}" type="sibTrans" cxnId="{775E1B8E-0364-4F6D-996E-A6CD9951B3CB}">
      <dgm:prSet/>
      <dgm:spPr/>
      <dgm:t>
        <a:bodyPr/>
        <a:lstStyle/>
        <a:p>
          <a:endParaRPr lang="en-US"/>
        </a:p>
      </dgm:t>
    </dgm:pt>
    <dgm:pt modelId="{BD15E49C-38A9-4ACE-9921-9A4DA4DFEBAF}">
      <dgm:prSet/>
      <dgm:spPr/>
      <dgm:t>
        <a:bodyPr/>
        <a:lstStyle/>
        <a:p>
          <a:r>
            <a:rPr lang="en-US" b="0" i="0"/>
            <a:t>Write comprehensive test cases to ensure functional and non-functional requirements.</a:t>
          </a:r>
          <a:endParaRPr lang="en-US"/>
        </a:p>
      </dgm:t>
    </dgm:pt>
    <dgm:pt modelId="{ADD48983-233A-4EE2-BE38-7D6564305F22}" type="parTrans" cxnId="{3A55AF7F-57CA-4CAA-A99D-BE5241405A28}">
      <dgm:prSet/>
      <dgm:spPr/>
      <dgm:t>
        <a:bodyPr/>
        <a:lstStyle/>
        <a:p>
          <a:endParaRPr lang="en-US"/>
        </a:p>
      </dgm:t>
    </dgm:pt>
    <dgm:pt modelId="{33DFE3EB-0F98-4D29-B3C6-C3A56D35D322}" type="sibTrans" cxnId="{3A55AF7F-57CA-4CAA-A99D-BE5241405A28}">
      <dgm:prSet/>
      <dgm:spPr/>
      <dgm:t>
        <a:bodyPr/>
        <a:lstStyle/>
        <a:p>
          <a:endParaRPr lang="en-US"/>
        </a:p>
      </dgm:t>
    </dgm:pt>
    <dgm:pt modelId="{F031C7D9-4742-41A1-8419-F90AAB747544}">
      <dgm:prSet/>
      <dgm:spPr/>
      <dgm:t>
        <a:bodyPr/>
        <a:lstStyle/>
        <a:p>
          <a:r>
            <a:rPr lang="en-US" b="0" i="0"/>
            <a:t>Regularly execute test suites as part of the CI/CD pipeline.</a:t>
          </a:r>
          <a:endParaRPr lang="en-US"/>
        </a:p>
      </dgm:t>
    </dgm:pt>
    <dgm:pt modelId="{2B58390F-7CA7-497C-B682-D3EC02A51109}" type="parTrans" cxnId="{96C5A923-D077-4300-A211-747B847E6010}">
      <dgm:prSet/>
      <dgm:spPr/>
      <dgm:t>
        <a:bodyPr/>
        <a:lstStyle/>
        <a:p>
          <a:endParaRPr lang="en-US"/>
        </a:p>
      </dgm:t>
    </dgm:pt>
    <dgm:pt modelId="{00ABB419-5B04-467E-B1E4-7C5296BCCD37}" type="sibTrans" cxnId="{96C5A923-D077-4300-A211-747B847E6010}">
      <dgm:prSet/>
      <dgm:spPr/>
      <dgm:t>
        <a:bodyPr/>
        <a:lstStyle/>
        <a:p>
          <a:endParaRPr lang="en-US"/>
        </a:p>
      </dgm:t>
    </dgm:pt>
    <dgm:pt modelId="{4E7D6990-0B5F-42F2-A159-6D28A92A2198}">
      <dgm:prSet/>
      <dgm:spPr/>
      <dgm:t>
        <a:bodyPr/>
        <a:lstStyle/>
        <a:p>
          <a:r>
            <a:rPr lang="en-US" b="1" i="0"/>
            <a:t>Error Handling:</a:t>
          </a:r>
          <a:endParaRPr lang="en-US"/>
        </a:p>
      </dgm:t>
    </dgm:pt>
    <dgm:pt modelId="{88538D34-5FCB-4AC7-B908-8FED3BE6A967}" type="parTrans" cxnId="{3EEFE259-09CF-42E9-B3AC-A5E000EB3B34}">
      <dgm:prSet/>
      <dgm:spPr/>
      <dgm:t>
        <a:bodyPr/>
        <a:lstStyle/>
        <a:p>
          <a:endParaRPr lang="en-US"/>
        </a:p>
      </dgm:t>
    </dgm:pt>
    <dgm:pt modelId="{AD2D648A-3EF3-4869-94A2-07EA7D63C90A}" type="sibTrans" cxnId="{3EEFE259-09CF-42E9-B3AC-A5E000EB3B34}">
      <dgm:prSet/>
      <dgm:spPr/>
      <dgm:t>
        <a:bodyPr/>
        <a:lstStyle/>
        <a:p>
          <a:endParaRPr lang="en-US"/>
        </a:p>
      </dgm:t>
    </dgm:pt>
    <dgm:pt modelId="{3713DDF9-432A-41D6-A23F-8E8402B0EF23}">
      <dgm:prSet/>
      <dgm:spPr/>
      <dgm:t>
        <a:bodyPr/>
        <a:lstStyle/>
        <a:p>
          <a:r>
            <a:rPr lang="en-US" b="0" i="0"/>
            <a:t>Establish robust error-handling mechanisms for meaningful error messages.</a:t>
          </a:r>
          <a:endParaRPr lang="en-US"/>
        </a:p>
      </dgm:t>
    </dgm:pt>
    <dgm:pt modelId="{720735DA-5E40-4D6D-B491-6AE28D1FA246}" type="parTrans" cxnId="{6BC5346C-F784-40D6-BABB-05566BB0AF69}">
      <dgm:prSet/>
      <dgm:spPr/>
      <dgm:t>
        <a:bodyPr/>
        <a:lstStyle/>
        <a:p>
          <a:endParaRPr lang="en-US"/>
        </a:p>
      </dgm:t>
    </dgm:pt>
    <dgm:pt modelId="{3C2AD976-A1B6-480A-94EF-DF652190C864}" type="sibTrans" cxnId="{6BC5346C-F784-40D6-BABB-05566BB0AF69}">
      <dgm:prSet/>
      <dgm:spPr/>
      <dgm:t>
        <a:bodyPr/>
        <a:lstStyle/>
        <a:p>
          <a:endParaRPr lang="en-US"/>
        </a:p>
      </dgm:t>
    </dgm:pt>
    <dgm:pt modelId="{880F16C3-811D-4CAB-83BE-7515F1D3D39A}">
      <dgm:prSet/>
      <dgm:spPr/>
      <dgm:t>
        <a:bodyPr/>
        <a:lstStyle/>
        <a:p>
          <a:r>
            <a:rPr lang="en-US" b="0" i="0"/>
            <a:t>Log errors systematically for analysis and debugging insights.</a:t>
          </a:r>
          <a:endParaRPr lang="en-US"/>
        </a:p>
      </dgm:t>
    </dgm:pt>
    <dgm:pt modelId="{C07110D6-419A-46AC-AE5C-6BFCB25AF0DE}" type="parTrans" cxnId="{A7DABFC4-9A14-4F6C-91E0-66174B85AF99}">
      <dgm:prSet/>
      <dgm:spPr/>
      <dgm:t>
        <a:bodyPr/>
        <a:lstStyle/>
        <a:p>
          <a:endParaRPr lang="en-US"/>
        </a:p>
      </dgm:t>
    </dgm:pt>
    <dgm:pt modelId="{94838E0E-B37C-469B-8CA2-339F369445B9}" type="sibTrans" cxnId="{A7DABFC4-9A14-4F6C-91E0-66174B85AF99}">
      <dgm:prSet/>
      <dgm:spPr/>
      <dgm:t>
        <a:bodyPr/>
        <a:lstStyle/>
        <a:p>
          <a:endParaRPr lang="en-US"/>
        </a:p>
      </dgm:t>
    </dgm:pt>
    <dgm:pt modelId="{FB22E959-B72E-4C12-8876-4A763E903E1C}">
      <dgm:prSet/>
      <dgm:spPr/>
      <dgm:t>
        <a:bodyPr/>
        <a:lstStyle/>
        <a:p>
          <a:r>
            <a:rPr lang="en-US" b="1" i="0"/>
            <a:t>Collaboration and Communication:</a:t>
          </a:r>
          <a:endParaRPr lang="en-US"/>
        </a:p>
      </dgm:t>
    </dgm:pt>
    <dgm:pt modelId="{5B0B378A-063F-43A6-8704-E4AEE6A89F06}" type="parTrans" cxnId="{B0357984-4742-483D-B49F-C77F8814563B}">
      <dgm:prSet/>
      <dgm:spPr/>
      <dgm:t>
        <a:bodyPr/>
        <a:lstStyle/>
        <a:p>
          <a:endParaRPr lang="en-US"/>
        </a:p>
      </dgm:t>
    </dgm:pt>
    <dgm:pt modelId="{CC0A9EAC-4DA7-49C3-AB17-267EAEB387AB}" type="sibTrans" cxnId="{B0357984-4742-483D-B49F-C77F8814563B}">
      <dgm:prSet/>
      <dgm:spPr/>
      <dgm:t>
        <a:bodyPr/>
        <a:lstStyle/>
        <a:p>
          <a:endParaRPr lang="en-US"/>
        </a:p>
      </dgm:t>
    </dgm:pt>
    <dgm:pt modelId="{C63A41C5-CBAD-458F-8BEE-D05A42957357}">
      <dgm:prSet/>
      <dgm:spPr/>
      <dgm:t>
        <a:bodyPr/>
        <a:lstStyle/>
        <a:p>
          <a:r>
            <a:rPr lang="en-US" b="0" i="0"/>
            <a:t>Foster a collaborative environment with open communication channels.</a:t>
          </a:r>
          <a:endParaRPr lang="en-US"/>
        </a:p>
      </dgm:t>
    </dgm:pt>
    <dgm:pt modelId="{7891FDCC-69F4-4CD6-B005-7F9EB5133430}" type="parTrans" cxnId="{3A4096F6-1995-49FF-A7A2-53868B4D3D43}">
      <dgm:prSet/>
      <dgm:spPr/>
      <dgm:t>
        <a:bodyPr/>
        <a:lstStyle/>
        <a:p>
          <a:endParaRPr lang="en-US"/>
        </a:p>
      </dgm:t>
    </dgm:pt>
    <dgm:pt modelId="{681F5BD5-B305-4836-976E-67437D5671C8}" type="sibTrans" cxnId="{3A4096F6-1995-49FF-A7A2-53868B4D3D43}">
      <dgm:prSet/>
      <dgm:spPr/>
      <dgm:t>
        <a:bodyPr/>
        <a:lstStyle/>
        <a:p>
          <a:endParaRPr lang="en-US"/>
        </a:p>
      </dgm:t>
    </dgm:pt>
    <dgm:pt modelId="{26E8CED9-C37E-4D7C-9D3F-2C0A1837E69D}">
      <dgm:prSet/>
      <dgm:spPr/>
      <dgm:t>
        <a:bodyPr/>
        <a:lstStyle/>
        <a:p>
          <a:r>
            <a:rPr lang="en-US" b="0" i="0"/>
            <a:t>Utilize collaboration tools and conduct regular meetings to keep the team aligned.</a:t>
          </a:r>
          <a:endParaRPr lang="en-US"/>
        </a:p>
      </dgm:t>
    </dgm:pt>
    <dgm:pt modelId="{19FE0475-4F29-4D20-AAB7-A01E10CEA9C2}" type="parTrans" cxnId="{6A4E69C3-E8BA-4623-8D37-663EA7FC1B29}">
      <dgm:prSet/>
      <dgm:spPr/>
      <dgm:t>
        <a:bodyPr/>
        <a:lstStyle/>
        <a:p>
          <a:endParaRPr lang="en-US"/>
        </a:p>
      </dgm:t>
    </dgm:pt>
    <dgm:pt modelId="{FACDA0E6-2542-4D7E-AC83-D9315ACAC1F4}" type="sibTrans" cxnId="{6A4E69C3-E8BA-4623-8D37-663EA7FC1B29}">
      <dgm:prSet/>
      <dgm:spPr/>
      <dgm:t>
        <a:bodyPr/>
        <a:lstStyle/>
        <a:p>
          <a:endParaRPr lang="en-US"/>
        </a:p>
      </dgm:t>
    </dgm:pt>
    <dgm:pt modelId="{E944F747-C6B9-4850-B14C-AF82A392E0D5}">
      <dgm:prSet/>
      <dgm:spPr/>
      <dgm:t>
        <a:bodyPr/>
        <a:lstStyle/>
        <a:p>
          <a:r>
            <a:rPr lang="en-US" b="1" i="0"/>
            <a:t>Kubernetes Implementation:</a:t>
          </a:r>
          <a:endParaRPr lang="en-US"/>
        </a:p>
      </dgm:t>
    </dgm:pt>
    <dgm:pt modelId="{2E975A1B-2F56-45C7-A934-26BD43B33E47}" type="parTrans" cxnId="{81ED856D-E7DD-4FB6-B334-A988B6B2E6F7}">
      <dgm:prSet/>
      <dgm:spPr/>
      <dgm:t>
        <a:bodyPr/>
        <a:lstStyle/>
        <a:p>
          <a:endParaRPr lang="en-US"/>
        </a:p>
      </dgm:t>
    </dgm:pt>
    <dgm:pt modelId="{B33783A4-45E5-4D75-AFFF-65FDAAFD1AF7}" type="sibTrans" cxnId="{81ED856D-E7DD-4FB6-B334-A988B6B2E6F7}">
      <dgm:prSet/>
      <dgm:spPr/>
      <dgm:t>
        <a:bodyPr/>
        <a:lstStyle/>
        <a:p>
          <a:endParaRPr lang="en-US"/>
        </a:p>
      </dgm:t>
    </dgm:pt>
    <dgm:pt modelId="{32CE3E87-527F-41BF-A2F7-2C4946D06947}">
      <dgm:prSet/>
      <dgm:spPr/>
      <dgm:t>
        <a:bodyPr/>
        <a:lstStyle/>
        <a:p>
          <a:r>
            <a:rPr lang="en-US" b="0" i="0"/>
            <a:t>Leverage Kubernetes for container orchestration and scalable deployment.</a:t>
          </a:r>
          <a:endParaRPr lang="en-US"/>
        </a:p>
      </dgm:t>
    </dgm:pt>
    <dgm:pt modelId="{5D769C63-5C88-4C59-A541-A3DA59E0B577}" type="parTrans" cxnId="{7EFC01AA-A4A3-488B-A18D-6F356CF24226}">
      <dgm:prSet/>
      <dgm:spPr/>
      <dgm:t>
        <a:bodyPr/>
        <a:lstStyle/>
        <a:p>
          <a:endParaRPr lang="en-US"/>
        </a:p>
      </dgm:t>
    </dgm:pt>
    <dgm:pt modelId="{CF8530BD-0CB4-4804-B835-20726E20BFAD}" type="sibTrans" cxnId="{7EFC01AA-A4A3-488B-A18D-6F356CF24226}">
      <dgm:prSet/>
      <dgm:spPr/>
      <dgm:t>
        <a:bodyPr/>
        <a:lstStyle/>
        <a:p>
          <a:endParaRPr lang="en-US"/>
        </a:p>
      </dgm:t>
    </dgm:pt>
    <dgm:pt modelId="{8E11E32E-35B6-49D9-9A46-A37E4A1F8901}">
      <dgm:prSet/>
      <dgm:spPr/>
      <dgm:t>
        <a:bodyPr/>
        <a:lstStyle/>
        <a:p>
          <a:r>
            <a:rPr lang="en-US" b="0" i="0"/>
            <a:t>Enhance application resilience, scalability, and maintainability.</a:t>
          </a:r>
          <a:endParaRPr lang="en-US"/>
        </a:p>
      </dgm:t>
    </dgm:pt>
    <dgm:pt modelId="{5BD43719-964A-4CC2-A14C-E5777C4D8803}" type="parTrans" cxnId="{640F4018-DB6C-4B66-97AE-7366D5E0BFE5}">
      <dgm:prSet/>
      <dgm:spPr/>
      <dgm:t>
        <a:bodyPr/>
        <a:lstStyle/>
        <a:p>
          <a:endParaRPr lang="en-US"/>
        </a:p>
      </dgm:t>
    </dgm:pt>
    <dgm:pt modelId="{EC749F30-CC9A-433A-80CB-4E263BD60319}" type="sibTrans" cxnId="{640F4018-DB6C-4B66-97AE-7366D5E0BFE5}">
      <dgm:prSet/>
      <dgm:spPr/>
      <dgm:t>
        <a:bodyPr/>
        <a:lstStyle/>
        <a:p>
          <a:endParaRPr lang="en-US"/>
        </a:p>
      </dgm:t>
    </dgm:pt>
    <dgm:pt modelId="{0B4DD4F6-75D8-4F87-B9E5-C45D8F7B839D}" type="pres">
      <dgm:prSet presAssocID="{4993E843-4813-4EE4-BC40-71AD38F8052B}" presName="linear" presStyleCnt="0">
        <dgm:presLayoutVars>
          <dgm:dir/>
          <dgm:animLvl val="lvl"/>
          <dgm:resizeHandles val="exact"/>
        </dgm:presLayoutVars>
      </dgm:prSet>
      <dgm:spPr/>
    </dgm:pt>
    <dgm:pt modelId="{437A8CA1-B9A2-4727-BCC3-9EAAF322716C}" type="pres">
      <dgm:prSet presAssocID="{3D6A9201-5C71-47C3-BFC7-9D886ACCCF25}" presName="parentLin" presStyleCnt="0"/>
      <dgm:spPr/>
    </dgm:pt>
    <dgm:pt modelId="{4EAEFA80-877E-47B4-816D-66C9A2FA2178}" type="pres">
      <dgm:prSet presAssocID="{3D6A9201-5C71-47C3-BFC7-9D886ACCCF25}" presName="parentLeftMargin" presStyleLbl="node1" presStyleIdx="0" presStyleCnt="6"/>
      <dgm:spPr/>
    </dgm:pt>
    <dgm:pt modelId="{498DD7D5-B2F2-4F35-8B17-E0786705554A}" type="pres">
      <dgm:prSet presAssocID="{3D6A9201-5C71-47C3-BFC7-9D886ACCCF25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1DA9654F-8B45-4D02-BF63-FC7DCE844E90}" type="pres">
      <dgm:prSet presAssocID="{3D6A9201-5C71-47C3-BFC7-9D886ACCCF25}" presName="negativeSpace" presStyleCnt="0"/>
      <dgm:spPr/>
    </dgm:pt>
    <dgm:pt modelId="{66C24D85-88A7-43D8-96E3-B2BB523F91B3}" type="pres">
      <dgm:prSet presAssocID="{3D6A9201-5C71-47C3-BFC7-9D886ACCCF25}" presName="childText" presStyleLbl="conFgAcc1" presStyleIdx="0" presStyleCnt="6">
        <dgm:presLayoutVars>
          <dgm:bulletEnabled val="1"/>
        </dgm:presLayoutVars>
      </dgm:prSet>
      <dgm:spPr/>
    </dgm:pt>
    <dgm:pt modelId="{98338847-6F93-41A8-BE00-401954F72474}" type="pres">
      <dgm:prSet presAssocID="{808F04F5-648B-4671-B3EA-E6B0DF4F9198}" presName="spaceBetweenRectangles" presStyleCnt="0"/>
      <dgm:spPr/>
    </dgm:pt>
    <dgm:pt modelId="{14CD9C7E-4FA8-4686-87FA-801863D65C6C}" type="pres">
      <dgm:prSet presAssocID="{2011968D-A243-4D51-9AA7-EC2D4822BF2E}" presName="parentLin" presStyleCnt="0"/>
      <dgm:spPr/>
    </dgm:pt>
    <dgm:pt modelId="{7683D989-59CA-474E-B6A4-D57C85AC5CDC}" type="pres">
      <dgm:prSet presAssocID="{2011968D-A243-4D51-9AA7-EC2D4822BF2E}" presName="parentLeftMargin" presStyleLbl="node1" presStyleIdx="0" presStyleCnt="6"/>
      <dgm:spPr/>
    </dgm:pt>
    <dgm:pt modelId="{710C7740-8935-488B-BF62-5E5D465B46EF}" type="pres">
      <dgm:prSet presAssocID="{2011968D-A243-4D51-9AA7-EC2D4822BF2E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D1317C43-D287-4C74-9D0D-25955DE8C92B}" type="pres">
      <dgm:prSet presAssocID="{2011968D-A243-4D51-9AA7-EC2D4822BF2E}" presName="negativeSpace" presStyleCnt="0"/>
      <dgm:spPr/>
    </dgm:pt>
    <dgm:pt modelId="{970AA986-FAF4-43CB-BBCF-39AA40E7E377}" type="pres">
      <dgm:prSet presAssocID="{2011968D-A243-4D51-9AA7-EC2D4822BF2E}" presName="childText" presStyleLbl="conFgAcc1" presStyleIdx="1" presStyleCnt="6">
        <dgm:presLayoutVars>
          <dgm:bulletEnabled val="1"/>
        </dgm:presLayoutVars>
      </dgm:prSet>
      <dgm:spPr/>
    </dgm:pt>
    <dgm:pt modelId="{AF614E12-C09B-42C0-B5BA-EE18FD84DCB0}" type="pres">
      <dgm:prSet presAssocID="{E1AAFBCE-584D-4211-BA8F-3B311DC4B694}" presName="spaceBetweenRectangles" presStyleCnt="0"/>
      <dgm:spPr/>
    </dgm:pt>
    <dgm:pt modelId="{8FFA402A-C593-4928-BE9F-ECE74AD24B0B}" type="pres">
      <dgm:prSet presAssocID="{A6FF8CFE-03DC-4E79-A481-430964D0860F}" presName="parentLin" presStyleCnt="0"/>
      <dgm:spPr/>
    </dgm:pt>
    <dgm:pt modelId="{5036CA14-BEDC-49AB-9DFD-088423E667DF}" type="pres">
      <dgm:prSet presAssocID="{A6FF8CFE-03DC-4E79-A481-430964D0860F}" presName="parentLeftMargin" presStyleLbl="node1" presStyleIdx="1" presStyleCnt="6"/>
      <dgm:spPr/>
    </dgm:pt>
    <dgm:pt modelId="{365D4683-ACDC-4D50-B879-4EA90E00CEA7}" type="pres">
      <dgm:prSet presAssocID="{A6FF8CFE-03DC-4E79-A481-430964D0860F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7E3A34E2-0899-445C-A409-CE01BF565A30}" type="pres">
      <dgm:prSet presAssocID="{A6FF8CFE-03DC-4E79-A481-430964D0860F}" presName="negativeSpace" presStyleCnt="0"/>
      <dgm:spPr/>
    </dgm:pt>
    <dgm:pt modelId="{20113647-B0E1-4F52-ADF3-A7BFA7A8A1C4}" type="pres">
      <dgm:prSet presAssocID="{A6FF8CFE-03DC-4E79-A481-430964D0860F}" presName="childText" presStyleLbl="conFgAcc1" presStyleIdx="2" presStyleCnt="6">
        <dgm:presLayoutVars>
          <dgm:bulletEnabled val="1"/>
        </dgm:presLayoutVars>
      </dgm:prSet>
      <dgm:spPr/>
    </dgm:pt>
    <dgm:pt modelId="{60E04F6F-C815-4871-BECC-B6993AD414D5}" type="pres">
      <dgm:prSet presAssocID="{D3FEFF40-4342-4323-B9E6-EEA3AEE6E55F}" presName="spaceBetweenRectangles" presStyleCnt="0"/>
      <dgm:spPr/>
    </dgm:pt>
    <dgm:pt modelId="{727EEC50-BED4-41C0-9D49-FD3EF5E3F925}" type="pres">
      <dgm:prSet presAssocID="{4E7D6990-0B5F-42F2-A159-6D28A92A2198}" presName="parentLin" presStyleCnt="0"/>
      <dgm:spPr/>
    </dgm:pt>
    <dgm:pt modelId="{B73AA340-BF80-42F0-B4C0-BAA31A18AEFC}" type="pres">
      <dgm:prSet presAssocID="{4E7D6990-0B5F-42F2-A159-6D28A92A2198}" presName="parentLeftMargin" presStyleLbl="node1" presStyleIdx="2" presStyleCnt="6"/>
      <dgm:spPr/>
    </dgm:pt>
    <dgm:pt modelId="{CCE4285D-39BA-4B43-8EB8-E7EC56D5CFC6}" type="pres">
      <dgm:prSet presAssocID="{4E7D6990-0B5F-42F2-A159-6D28A92A2198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94677599-7790-4729-89B7-49F8F0A2969D}" type="pres">
      <dgm:prSet presAssocID="{4E7D6990-0B5F-42F2-A159-6D28A92A2198}" presName="negativeSpace" presStyleCnt="0"/>
      <dgm:spPr/>
    </dgm:pt>
    <dgm:pt modelId="{C543DA88-3F11-4999-A8F7-9CB5CCA63A17}" type="pres">
      <dgm:prSet presAssocID="{4E7D6990-0B5F-42F2-A159-6D28A92A2198}" presName="childText" presStyleLbl="conFgAcc1" presStyleIdx="3" presStyleCnt="6">
        <dgm:presLayoutVars>
          <dgm:bulletEnabled val="1"/>
        </dgm:presLayoutVars>
      </dgm:prSet>
      <dgm:spPr/>
    </dgm:pt>
    <dgm:pt modelId="{074B2B9D-D9A6-410B-B718-4D36A467199B}" type="pres">
      <dgm:prSet presAssocID="{AD2D648A-3EF3-4869-94A2-07EA7D63C90A}" presName="spaceBetweenRectangles" presStyleCnt="0"/>
      <dgm:spPr/>
    </dgm:pt>
    <dgm:pt modelId="{AF54F764-D1D6-4F17-9D2E-779F417C4CC1}" type="pres">
      <dgm:prSet presAssocID="{FB22E959-B72E-4C12-8876-4A763E903E1C}" presName="parentLin" presStyleCnt="0"/>
      <dgm:spPr/>
    </dgm:pt>
    <dgm:pt modelId="{71FEF096-451D-4567-82AD-FC74A7D1C378}" type="pres">
      <dgm:prSet presAssocID="{FB22E959-B72E-4C12-8876-4A763E903E1C}" presName="parentLeftMargin" presStyleLbl="node1" presStyleIdx="3" presStyleCnt="6"/>
      <dgm:spPr/>
    </dgm:pt>
    <dgm:pt modelId="{127F2994-A42D-44AB-82EB-32EDA057F4B5}" type="pres">
      <dgm:prSet presAssocID="{FB22E959-B72E-4C12-8876-4A763E903E1C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8B67147A-9928-49C7-A279-96F97F0FE42D}" type="pres">
      <dgm:prSet presAssocID="{FB22E959-B72E-4C12-8876-4A763E903E1C}" presName="negativeSpace" presStyleCnt="0"/>
      <dgm:spPr/>
    </dgm:pt>
    <dgm:pt modelId="{160F8F80-928B-4B0A-81BD-B6A659C52FEE}" type="pres">
      <dgm:prSet presAssocID="{FB22E959-B72E-4C12-8876-4A763E903E1C}" presName="childText" presStyleLbl="conFgAcc1" presStyleIdx="4" presStyleCnt="6">
        <dgm:presLayoutVars>
          <dgm:bulletEnabled val="1"/>
        </dgm:presLayoutVars>
      </dgm:prSet>
      <dgm:spPr/>
    </dgm:pt>
    <dgm:pt modelId="{023FC4E6-B981-4A78-A16F-8BC1C7EC7F11}" type="pres">
      <dgm:prSet presAssocID="{CC0A9EAC-4DA7-49C3-AB17-267EAEB387AB}" presName="spaceBetweenRectangles" presStyleCnt="0"/>
      <dgm:spPr/>
    </dgm:pt>
    <dgm:pt modelId="{C206C9B9-2A72-4CAF-8224-3DE051BD59F6}" type="pres">
      <dgm:prSet presAssocID="{E944F747-C6B9-4850-B14C-AF82A392E0D5}" presName="parentLin" presStyleCnt="0"/>
      <dgm:spPr/>
    </dgm:pt>
    <dgm:pt modelId="{9C241BCC-3DBF-498D-9B35-F55E4DC0BBDA}" type="pres">
      <dgm:prSet presAssocID="{E944F747-C6B9-4850-B14C-AF82A392E0D5}" presName="parentLeftMargin" presStyleLbl="node1" presStyleIdx="4" presStyleCnt="6"/>
      <dgm:spPr/>
    </dgm:pt>
    <dgm:pt modelId="{9D591A3D-5D35-4F00-BA86-1A0A51AE1DC8}" type="pres">
      <dgm:prSet presAssocID="{E944F747-C6B9-4850-B14C-AF82A392E0D5}" presName="parentText" presStyleLbl="node1" presStyleIdx="5" presStyleCnt="6">
        <dgm:presLayoutVars>
          <dgm:chMax val="0"/>
          <dgm:bulletEnabled val="1"/>
        </dgm:presLayoutVars>
      </dgm:prSet>
      <dgm:spPr/>
    </dgm:pt>
    <dgm:pt modelId="{BFA95915-692B-4967-881E-0E047C267A26}" type="pres">
      <dgm:prSet presAssocID="{E944F747-C6B9-4850-B14C-AF82A392E0D5}" presName="negativeSpace" presStyleCnt="0"/>
      <dgm:spPr/>
    </dgm:pt>
    <dgm:pt modelId="{8FA665D9-A945-498B-A068-64F88C30ADF7}" type="pres">
      <dgm:prSet presAssocID="{E944F747-C6B9-4850-B14C-AF82A392E0D5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A420D404-D45D-49C5-A58B-EFC606CE19B2}" type="presOf" srcId="{BD15E49C-38A9-4ACE-9921-9A4DA4DFEBAF}" destId="{20113647-B0E1-4F52-ADF3-A7BFA7A8A1C4}" srcOrd="0" destOrd="2" presId="urn:microsoft.com/office/officeart/2005/8/layout/list1"/>
    <dgm:cxn modelId="{D40CCC0A-73D8-41D5-9305-213B289804FF}" type="presOf" srcId="{A6FF8CFE-03DC-4E79-A481-430964D0860F}" destId="{365D4683-ACDC-4D50-B879-4EA90E00CEA7}" srcOrd="1" destOrd="0" presId="urn:microsoft.com/office/officeart/2005/8/layout/list1"/>
    <dgm:cxn modelId="{92B04B0B-C802-4071-8DF7-4067CFDD0489}" srcId="{2011968D-A243-4D51-9AA7-EC2D4822BF2E}" destId="{00B75BED-7872-4FDC-951D-C8A04F721710}" srcOrd="1" destOrd="0" parTransId="{54DD6DE9-53F7-405D-907E-8DB6A8E2FA71}" sibTransId="{A4FD0448-D8D4-467B-9161-F71D3BE7B6A5}"/>
    <dgm:cxn modelId="{7D7FBE0B-1024-4832-A25E-83ACAC002B93}" type="presOf" srcId="{3713DDF9-432A-41D6-A23F-8E8402B0EF23}" destId="{C543DA88-3F11-4999-A8F7-9CB5CCA63A17}" srcOrd="0" destOrd="0" presId="urn:microsoft.com/office/officeart/2005/8/layout/list1"/>
    <dgm:cxn modelId="{F94D360D-5BD8-47EF-A0B0-E675C201C9AB}" type="presOf" srcId="{E944F747-C6B9-4850-B14C-AF82A392E0D5}" destId="{9D591A3D-5D35-4F00-BA86-1A0A51AE1DC8}" srcOrd="1" destOrd="0" presId="urn:microsoft.com/office/officeart/2005/8/layout/list1"/>
    <dgm:cxn modelId="{640F4018-DB6C-4B66-97AE-7366D5E0BFE5}" srcId="{E944F747-C6B9-4850-B14C-AF82A392E0D5}" destId="{8E11E32E-35B6-49D9-9A46-A37E4A1F8901}" srcOrd="1" destOrd="0" parTransId="{5BD43719-964A-4CC2-A14C-E5777C4D8803}" sibTransId="{EC749F30-CC9A-433A-80CB-4E263BD60319}"/>
    <dgm:cxn modelId="{96C5A923-D077-4300-A211-747B847E6010}" srcId="{A6FF8CFE-03DC-4E79-A481-430964D0860F}" destId="{F031C7D9-4742-41A1-8419-F90AAB747544}" srcOrd="3" destOrd="0" parTransId="{2B58390F-7CA7-497C-B682-D3EC02A51109}" sibTransId="{00ABB419-5B04-467E-B1E4-7C5296BCCD37}"/>
    <dgm:cxn modelId="{B6299B26-1586-4133-B6E6-B04C2EA81A1C}" srcId="{A6FF8CFE-03DC-4E79-A481-430964D0860F}" destId="{237664F5-27E0-4760-BA8E-D8C88EAC2C0C}" srcOrd="0" destOrd="0" parTransId="{F6CB8190-6BA6-4ADD-B725-AFA069509921}" sibTransId="{D4175DF5-C121-4C35-9409-F5904B0AC890}"/>
    <dgm:cxn modelId="{A0582A2B-EC97-40E9-B35D-88BB08BDCFC3}" type="presOf" srcId="{FB22E959-B72E-4C12-8876-4A763E903E1C}" destId="{127F2994-A42D-44AB-82EB-32EDA057F4B5}" srcOrd="1" destOrd="0" presId="urn:microsoft.com/office/officeart/2005/8/layout/list1"/>
    <dgm:cxn modelId="{3A416339-1401-4728-8664-E35DA4191408}" type="presOf" srcId="{2011968D-A243-4D51-9AA7-EC2D4822BF2E}" destId="{710C7740-8935-488B-BF62-5E5D465B46EF}" srcOrd="1" destOrd="0" presId="urn:microsoft.com/office/officeart/2005/8/layout/list1"/>
    <dgm:cxn modelId="{F7889F39-FD5C-449E-9635-4E445FA30904}" type="presOf" srcId="{A6FF8CFE-03DC-4E79-A481-430964D0860F}" destId="{5036CA14-BEDC-49AB-9DFD-088423E667DF}" srcOrd="0" destOrd="0" presId="urn:microsoft.com/office/officeart/2005/8/layout/list1"/>
    <dgm:cxn modelId="{C44C5C3A-E1F3-4F1C-8CF4-13BD44102C18}" type="presOf" srcId="{237664F5-27E0-4760-BA8E-D8C88EAC2C0C}" destId="{20113647-B0E1-4F52-ADF3-A7BFA7A8A1C4}" srcOrd="0" destOrd="0" presId="urn:microsoft.com/office/officeart/2005/8/layout/list1"/>
    <dgm:cxn modelId="{3379013E-876D-4C83-83AC-8F64B7C89BDC}" type="presOf" srcId="{3D6A9201-5C71-47C3-BFC7-9D886ACCCF25}" destId="{4EAEFA80-877E-47B4-816D-66C9A2FA2178}" srcOrd="0" destOrd="0" presId="urn:microsoft.com/office/officeart/2005/8/layout/list1"/>
    <dgm:cxn modelId="{C0948E5E-CFC1-45A3-9010-53D841D0577D}" srcId="{4993E843-4813-4EE4-BC40-71AD38F8052B}" destId="{2011968D-A243-4D51-9AA7-EC2D4822BF2E}" srcOrd="1" destOrd="0" parTransId="{3BDCE845-0719-4992-BC34-C13108FE22CE}" sibTransId="{E1AAFBCE-584D-4211-BA8F-3B311DC4B694}"/>
    <dgm:cxn modelId="{148D2267-3633-4C9F-AC4E-3F9F55E9107D}" type="presOf" srcId="{4993E843-4813-4EE4-BC40-71AD38F8052B}" destId="{0B4DD4F6-75D8-4F87-B9E5-C45D8F7B839D}" srcOrd="0" destOrd="0" presId="urn:microsoft.com/office/officeart/2005/8/layout/list1"/>
    <dgm:cxn modelId="{6BC5346C-F784-40D6-BABB-05566BB0AF69}" srcId="{4E7D6990-0B5F-42F2-A159-6D28A92A2198}" destId="{3713DDF9-432A-41D6-A23F-8E8402B0EF23}" srcOrd="0" destOrd="0" parTransId="{720735DA-5E40-4D6D-B491-6AE28D1FA246}" sibTransId="{3C2AD976-A1B6-480A-94EF-DF652190C864}"/>
    <dgm:cxn modelId="{1EA9EA4C-EA12-46DD-8687-1F55D9AB0281}" type="presOf" srcId="{04FCF54A-7CEC-42D5-A38E-6B95B9E52516}" destId="{66C24D85-88A7-43D8-96E3-B2BB523F91B3}" srcOrd="0" destOrd="0" presId="urn:microsoft.com/office/officeart/2005/8/layout/list1"/>
    <dgm:cxn modelId="{81ED856D-E7DD-4FB6-B334-A988B6B2E6F7}" srcId="{4993E843-4813-4EE4-BC40-71AD38F8052B}" destId="{E944F747-C6B9-4850-B14C-AF82A392E0D5}" srcOrd="5" destOrd="0" parTransId="{2E975A1B-2F56-45C7-A934-26BD43B33E47}" sibTransId="{B33783A4-45E5-4D75-AFFF-65FDAAFD1AF7}"/>
    <dgm:cxn modelId="{00581579-452D-4648-A382-72DD8D92A3A7}" type="presOf" srcId="{E944F747-C6B9-4850-B14C-AF82A392E0D5}" destId="{9C241BCC-3DBF-498D-9B35-F55E4DC0BBDA}" srcOrd="0" destOrd="0" presId="urn:microsoft.com/office/officeart/2005/8/layout/list1"/>
    <dgm:cxn modelId="{3EEFE259-09CF-42E9-B3AC-A5E000EB3B34}" srcId="{4993E843-4813-4EE4-BC40-71AD38F8052B}" destId="{4E7D6990-0B5F-42F2-A159-6D28A92A2198}" srcOrd="3" destOrd="0" parTransId="{88538D34-5FCB-4AC7-B908-8FED3BE6A967}" sibTransId="{AD2D648A-3EF3-4869-94A2-07EA7D63C90A}"/>
    <dgm:cxn modelId="{3A55AF7F-57CA-4CAA-A99D-BE5241405A28}" srcId="{A6FF8CFE-03DC-4E79-A481-430964D0860F}" destId="{BD15E49C-38A9-4ACE-9921-9A4DA4DFEBAF}" srcOrd="2" destOrd="0" parTransId="{ADD48983-233A-4EE2-BE38-7D6564305F22}" sibTransId="{33DFE3EB-0F98-4D29-B3C6-C3A56D35D322}"/>
    <dgm:cxn modelId="{B0357984-4742-483D-B49F-C77F8814563B}" srcId="{4993E843-4813-4EE4-BC40-71AD38F8052B}" destId="{FB22E959-B72E-4C12-8876-4A763E903E1C}" srcOrd="4" destOrd="0" parTransId="{5B0B378A-063F-43A6-8704-E4AEE6A89F06}" sibTransId="{CC0A9EAC-4DA7-49C3-AB17-267EAEB387AB}"/>
    <dgm:cxn modelId="{775E1B8E-0364-4F6D-996E-A6CD9951B3CB}" srcId="{A6FF8CFE-03DC-4E79-A481-430964D0860F}" destId="{C7938224-E138-4F6D-87D0-FF63115A9C90}" srcOrd="1" destOrd="0" parTransId="{4318F8EC-BFB8-4D9D-B625-9D9BA3CF6021}" sibTransId="{2B7DF7C5-CE67-4CBB-A40A-EFAC047C222B}"/>
    <dgm:cxn modelId="{D3A3AB95-0956-47E1-83DF-6462D067B9C8}" type="presOf" srcId="{E3DA999B-D3ED-4875-946A-8F3C50CABFC6}" destId="{66C24D85-88A7-43D8-96E3-B2BB523F91B3}" srcOrd="0" destOrd="1" presId="urn:microsoft.com/office/officeart/2005/8/layout/list1"/>
    <dgm:cxn modelId="{536408A1-4EAD-46CA-A903-CBC560921AA3}" srcId="{4993E843-4813-4EE4-BC40-71AD38F8052B}" destId="{A6FF8CFE-03DC-4E79-A481-430964D0860F}" srcOrd="2" destOrd="0" parTransId="{1242AA13-802C-4AE6-93D0-38CF940FF569}" sibTransId="{D3FEFF40-4342-4323-B9E6-EEA3AEE6E55F}"/>
    <dgm:cxn modelId="{19C64EA2-69E9-4411-8297-9FC74172FFD4}" type="presOf" srcId="{C7938224-E138-4F6D-87D0-FF63115A9C90}" destId="{20113647-B0E1-4F52-ADF3-A7BFA7A8A1C4}" srcOrd="0" destOrd="1" presId="urn:microsoft.com/office/officeart/2005/8/layout/list1"/>
    <dgm:cxn modelId="{759EA5A7-AF2D-4580-9167-2C9F7C2FF32F}" srcId="{4993E843-4813-4EE4-BC40-71AD38F8052B}" destId="{3D6A9201-5C71-47C3-BFC7-9D886ACCCF25}" srcOrd="0" destOrd="0" parTransId="{08F47C77-521D-4B33-994F-04076E18EC81}" sibTransId="{808F04F5-648B-4671-B3EA-E6B0DF4F9198}"/>
    <dgm:cxn modelId="{7EFC01AA-A4A3-488B-A18D-6F356CF24226}" srcId="{E944F747-C6B9-4850-B14C-AF82A392E0D5}" destId="{32CE3E87-527F-41BF-A2F7-2C4946D06947}" srcOrd="0" destOrd="0" parTransId="{5D769C63-5C88-4C59-A541-A3DA59E0B577}" sibTransId="{CF8530BD-0CB4-4804-B835-20726E20BFAD}"/>
    <dgm:cxn modelId="{F8DB91B2-3EBE-44C9-9E82-1C9C83AE02BE}" type="presOf" srcId="{32CE3E87-527F-41BF-A2F7-2C4946D06947}" destId="{8FA665D9-A945-498B-A068-64F88C30ADF7}" srcOrd="0" destOrd="0" presId="urn:microsoft.com/office/officeart/2005/8/layout/list1"/>
    <dgm:cxn modelId="{5E9FABBD-914D-4337-BF96-B018E07B43A4}" type="presOf" srcId="{8E11E32E-35B6-49D9-9A46-A37E4A1F8901}" destId="{8FA665D9-A945-498B-A068-64F88C30ADF7}" srcOrd="0" destOrd="1" presId="urn:microsoft.com/office/officeart/2005/8/layout/list1"/>
    <dgm:cxn modelId="{76D085C2-309A-4E69-8E64-0904D575480E}" type="presOf" srcId="{43289665-8A1A-41A7-808F-A5D4AE388579}" destId="{970AA986-FAF4-43CB-BBCF-39AA40E7E377}" srcOrd="0" destOrd="0" presId="urn:microsoft.com/office/officeart/2005/8/layout/list1"/>
    <dgm:cxn modelId="{6A4E69C3-E8BA-4623-8D37-663EA7FC1B29}" srcId="{FB22E959-B72E-4C12-8876-4A763E903E1C}" destId="{26E8CED9-C37E-4D7C-9D3F-2C0A1837E69D}" srcOrd="1" destOrd="0" parTransId="{19FE0475-4F29-4D20-AAB7-A01E10CEA9C2}" sibTransId="{FACDA0E6-2542-4D7E-AC83-D9315ACAC1F4}"/>
    <dgm:cxn modelId="{9D1696C3-740A-416A-970F-22037B0F403B}" type="presOf" srcId="{26E8CED9-C37E-4D7C-9D3F-2C0A1837E69D}" destId="{160F8F80-928B-4B0A-81BD-B6A659C52FEE}" srcOrd="0" destOrd="1" presId="urn:microsoft.com/office/officeart/2005/8/layout/list1"/>
    <dgm:cxn modelId="{A7DABFC4-9A14-4F6C-91E0-66174B85AF99}" srcId="{4E7D6990-0B5F-42F2-A159-6D28A92A2198}" destId="{880F16C3-811D-4CAB-83BE-7515F1D3D39A}" srcOrd="1" destOrd="0" parTransId="{C07110D6-419A-46AC-AE5C-6BFCB25AF0DE}" sibTransId="{94838E0E-B37C-469B-8CA2-339F369445B9}"/>
    <dgm:cxn modelId="{8A64C5C6-C4E5-449F-8F48-C69AA95BAF5E}" type="presOf" srcId="{C63A41C5-CBAD-458F-8BEE-D05A42957357}" destId="{160F8F80-928B-4B0A-81BD-B6A659C52FEE}" srcOrd="0" destOrd="0" presId="urn:microsoft.com/office/officeart/2005/8/layout/list1"/>
    <dgm:cxn modelId="{19BF12C7-3035-43A8-B478-7050B1F9CD66}" type="presOf" srcId="{F031C7D9-4742-41A1-8419-F90AAB747544}" destId="{20113647-B0E1-4F52-ADF3-A7BFA7A8A1C4}" srcOrd="0" destOrd="3" presId="urn:microsoft.com/office/officeart/2005/8/layout/list1"/>
    <dgm:cxn modelId="{FB1DE2CB-B9AE-45CD-8238-EFEF791BBC73}" srcId="{2011968D-A243-4D51-9AA7-EC2D4822BF2E}" destId="{43289665-8A1A-41A7-808F-A5D4AE388579}" srcOrd="0" destOrd="0" parTransId="{DC6404AE-A3C1-42BE-9DD9-F6E2B962F319}" sibTransId="{C61767CA-9CA1-4713-9E2C-3B8C6DFADC5F}"/>
    <dgm:cxn modelId="{D63C59CD-D0FF-4E38-8B59-28468CB5F73D}" type="presOf" srcId="{4E7D6990-0B5F-42F2-A159-6D28A92A2198}" destId="{B73AA340-BF80-42F0-B4C0-BAA31A18AEFC}" srcOrd="0" destOrd="0" presId="urn:microsoft.com/office/officeart/2005/8/layout/list1"/>
    <dgm:cxn modelId="{0241C7CF-1341-4017-895C-23E3023615FA}" srcId="{3D6A9201-5C71-47C3-BFC7-9D886ACCCF25}" destId="{E3DA999B-D3ED-4875-946A-8F3C50CABFC6}" srcOrd="1" destOrd="0" parTransId="{66A22E81-ACFF-44E5-A51D-CB11D1BF4EB0}" sibTransId="{A72F0767-193C-4958-9BA0-11C031B9616E}"/>
    <dgm:cxn modelId="{C172ACD4-23B3-4A98-B493-6560146C0C45}" type="presOf" srcId="{880F16C3-811D-4CAB-83BE-7515F1D3D39A}" destId="{C543DA88-3F11-4999-A8F7-9CB5CCA63A17}" srcOrd="0" destOrd="1" presId="urn:microsoft.com/office/officeart/2005/8/layout/list1"/>
    <dgm:cxn modelId="{34E043D6-53FC-4FB6-992D-129B47A1DDBB}" type="presOf" srcId="{3D6A9201-5C71-47C3-BFC7-9D886ACCCF25}" destId="{498DD7D5-B2F2-4F35-8B17-E0786705554A}" srcOrd="1" destOrd="0" presId="urn:microsoft.com/office/officeart/2005/8/layout/list1"/>
    <dgm:cxn modelId="{762AA4D6-7122-4B8C-A9A7-462403B98FD8}" type="presOf" srcId="{00B75BED-7872-4FDC-951D-C8A04F721710}" destId="{970AA986-FAF4-43CB-BBCF-39AA40E7E377}" srcOrd="0" destOrd="1" presId="urn:microsoft.com/office/officeart/2005/8/layout/list1"/>
    <dgm:cxn modelId="{741015E7-C31B-481C-881C-77124664117F}" srcId="{3D6A9201-5C71-47C3-BFC7-9D886ACCCF25}" destId="{04FCF54A-7CEC-42D5-A38E-6B95B9E52516}" srcOrd="0" destOrd="0" parTransId="{14CD16E1-AAE8-450C-8D22-E7B0A0FCBF8D}" sibTransId="{77B5C332-66E6-4359-A235-D103C291E521}"/>
    <dgm:cxn modelId="{70EDADEC-1AC5-4A75-90BB-A037949E9E6B}" type="presOf" srcId="{4E7D6990-0B5F-42F2-A159-6D28A92A2198}" destId="{CCE4285D-39BA-4B43-8EB8-E7EC56D5CFC6}" srcOrd="1" destOrd="0" presId="urn:microsoft.com/office/officeart/2005/8/layout/list1"/>
    <dgm:cxn modelId="{3A4096F6-1995-49FF-A7A2-53868B4D3D43}" srcId="{FB22E959-B72E-4C12-8876-4A763E903E1C}" destId="{C63A41C5-CBAD-458F-8BEE-D05A42957357}" srcOrd="0" destOrd="0" parTransId="{7891FDCC-69F4-4CD6-B005-7F9EB5133430}" sibTransId="{681F5BD5-B305-4836-976E-67437D5671C8}"/>
    <dgm:cxn modelId="{B8D386F9-E7F3-41BC-B569-E2CFAABDC764}" type="presOf" srcId="{FB22E959-B72E-4C12-8876-4A763E903E1C}" destId="{71FEF096-451D-4567-82AD-FC74A7D1C378}" srcOrd="0" destOrd="0" presId="urn:microsoft.com/office/officeart/2005/8/layout/list1"/>
    <dgm:cxn modelId="{3CD15AFB-AC0E-4A4C-9248-65B9E4A09827}" type="presOf" srcId="{2011968D-A243-4D51-9AA7-EC2D4822BF2E}" destId="{7683D989-59CA-474E-B6A4-D57C85AC5CDC}" srcOrd="0" destOrd="0" presId="urn:microsoft.com/office/officeart/2005/8/layout/list1"/>
    <dgm:cxn modelId="{C3450884-CD07-45DA-A1E8-7DE65938FB6F}" type="presParOf" srcId="{0B4DD4F6-75D8-4F87-B9E5-C45D8F7B839D}" destId="{437A8CA1-B9A2-4727-BCC3-9EAAF322716C}" srcOrd="0" destOrd="0" presId="urn:microsoft.com/office/officeart/2005/8/layout/list1"/>
    <dgm:cxn modelId="{2D1D7D1B-B99A-46A3-ADDB-23E3887BF230}" type="presParOf" srcId="{437A8CA1-B9A2-4727-BCC3-9EAAF322716C}" destId="{4EAEFA80-877E-47B4-816D-66C9A2FA2178}" srcOrd="0" destOrd="0" presId="urn:microsoft.com/office/officeart/2005/8/layout/list1"/>
    <dgm:cxn modelId="{656558D2-D219-4B5A-AF71-FE6EC4176E1D}" type="presParOf" srcId="{437A8CA1-B9A2-4727-BCC3-9EAAF322716C}" destId="{498DD7D5-B2F2-4F35-8B17-E0786705554A}" srcOrd="1" destOrd="0" presId="urn:microsoft.com/office/officeart/2005/8/layout/list1"/>
    <dgm:cxn modelId="{1BEE95A2-018B-4CB7-A29E-F0EB3EDB42C4}" type="presParOf" srcId="{0B4DD4F6-75D8-4F87-B9E5-C45D8F7B839D}" destId="{1DA9654F-8B45-4D02-BF63-FC7DCE844E90}" srcOrd="1" destOrd="0" presId="urn:microsoft.com/office/officeart/2005/8/layout/list1"/>
    <dgm:cxn modelId="{611E2EB1-3043-4B4F-BF27-DB6BA33F6F91}" type="presParOf" srcId="{0B4DD4F6-75D8-4F87-B9E5-C45D8F7B839D}" destId="{66C24D85-88A7-43D8-96E3-B2BB523F91B3}" srcOrd="2" destOrd="0" presId="urn:microsoft.com/office/officeart/2005/8/layout/list1"/>
    <dgm:cxn modelId="{87F2A8F6-13BB-4590-A9D2-225D58A5336A}" type="presParOf" srcId="{0B4DD4F6-75D8-4F87-B9E5-C45D8F7B839D}" destId="{98338847-6F93-41A8-BE00-401954F72474}" srcOrd="3" destOrd="0" presId="urn:microsoft.com/office/officeart/2005/8/layout/list1"/>
    <dgm:cxn modelId="{F892AFED-ACA9-497C-AD6C-24F19F258E08}" type="presParOf" srcId="{0B4DD4F6-75D8-4F87-B9E5-C45D8F7B839D}" destId="{14CD9C7E-4FA8-4686-87FA-801863D65C6C}" srcOrd="4" destOrd="0" presId="urn:microsoft.com/office/officeart/2005/8/layout/list1"/>
    <dgm:cxn modelId="{4DD3A37F-5580-4A87-BBA6-0535F578231D}" type="presParOf" srcId="{14CD9C7E-4FA8-4686-87FA-801863D65C6C}" destId="{7683D989-59CA-474E-B6A4-D57C85AC5CDC}" srcOrd="0" destOrd="0" presId="urn:microsoft.com/office/officeart/2005/8/layout/list1"/>
    <dgm:cxn modelId="{FB9814ED-219D-4A03-8D51-2F8BEAFDB960}" type="presParOf" srcId="{14CD9C7E-4FA8-4686-87FA-801863D65C6C}" destId="{710C7740-8935-488B-BF62-5E5D465B46EF}" srcOrd="1" destOrd="0" presId="urn:microsoft.com/office/officeart/2005/8/layout/list1"/>
    <dgm:cxn modelId="{7C2BF277-B6D5-4312-838E-EC26C6134CD8}" type="presParOf" srcId="{0B4DD4F6-75D8-4F87-B9E5-C45D8F7B839D}" destId="{D1317C43-D287-4C74-9D0D-25955DE8C92B}" srcOrd="5" destOrd="0" presId="urn:microsoft.com/office/officeart/2005/8/layout/list1"/>
    <dgm:cxn modelId="{BB61DC60-9CA8-49F4-B01F-6AC48D4350E3}" type="presParOf" srcId="{0B4DD4F6-75D8-4F87-B9E5-C45D8F7B839D}" destId="{970AA986-FAF4-43CB-BBCF-39AA40E7E377}" srcOrd="6" destOrd="0" presId="urn:microsoft.com/office/officeart/2005/8/layout/list1"/>
    <dgm:cxn modelId="{3B504876-511A-44E9-B85E-B86625233BA1}" type="presParOf" srcId="{0B4DD4F6-75D8-4F87-B9E5-C45D8F7B839D}" destId="{AF614E12-C09B-42C0-B5BA-EE18FD84DCB0}" srcOrd="7" destOrd="0" presId="urn:microsoft.com/office/officeart/2005/8/layout/list1"/>
    <dgm:cxn modelId="{CC410C90-6E04-4A5C-A103-7CF5B7A773E5}" type="presParOf" srcId="{0B4DD4F6-75D8-4F87-B9E5-C45D8F7B839D}" destId="{8FFA402A-C593-4928-BE9F-ECE74AD24B0B}" srcOrd="8" destOrd="0" presId="urn:microsoft.com/office/officeart/2005/8/layout/list1"/>
    <dgm:cxn modelId="{3CC80DB8-9909-4840-8752-1DD5446DE55D}" type="presParOf" srcId="{8FFA402A-C593-4928-BE9F-ECE74AD24B0B}" destId="{5036CA14-BEDC-49AB-9DFD-088423E667DF}" srcOrd="0" destOrd="0" presId="urn:microsoft.com/office/officeart/2005/8/layout/list1"/>
    <dgm:cxn modelId="{81023977-3F23-4D33-B97D-ED53A872C8CA}" type="presParOf" srcId="{8FFA402A-C593-4928-BE9F-ECE74AD24B0B}" destId="{365D4683-ACDC-4D50-B879-4EA90E00CEA7}" srcOrd="1" destOrd="0" presId="urn:microsoft.com/office/officeart/2005/8/layout/list1"/>
    <dgm:cxn modelId="{7C7BA451-4AE5-4BF4-AF96-CDF0B3CF38CE}" type="presParOf" srcId="{0B4DD4F6-75D8-4F87-B9E5-C45D8F7B839D}" destId="{7E3A34E2-0899-445C-A409-CE01BF565A30}" srcOrd="9" destOrd="0" presId="urn:microsoft.com/office/officeart/2005/8/layout/list1"/>
    <dgm:cxn modelId="{6F9BA8A7-8A9C-429E-AE86-80E4131FFB33}" type="presParOf" srcId="{0B4DD4F6-75D8-4F87-B9E5-C45D8F7B839D}" destId="{20113647-B0E1-4F52-ADF3-A7BFA7A8A1C4}" srcOrd="10" destOrd="0" presId="urn:microsoft.com/office/officeart/2005/8/layout/list1"/>
    <dgm:cxn modelId="{AFEE66DA-4BD1-4207-91D2-6E8C3CDEF341}" type="presParOf" srcId="{0B4DD4F6-75D8-4F87-B9E5-C45D8F7B839D}" destId="{60E04F6F-C815-4871-BECC-B6993AD414D5}" srcOrd="11" destOrd="0" presId="urn:microsoft.com/office/officeart/2005/8/layout/list1"/>
    <dgm:cxn modelId="{AF8AED3C-5C00-4BEE-9A96-4D7CB2435D51}" type="presParOf" srcId="{0B4DD4F6-75D8-4F87-B9E5-C45D8F7B839D}" destId="{727EEC50-BED4-41C0-9D49-FD3EF5E3F925}" srcOrd="12" destOrd="0" presId="urn:microsoft.com/office/officeart/2005/8/layout/list1"/>
    <dgm:cxn modelId="{6A8B707C-A6A0-4AC8-99DF-068B42846C10}" type="presParOf" srcId="{727EEC50-BED4-41C0-9D49-FD3EF5E3F925}" destId="{B73AA340-BF80-42F0-B4C0-BAA31A18AEFC}" srcOrd="0" destOrd="0" presId="urn:microsoft.com/office/officeart/2005/8/layout/list1"/>
    <dgm:cxn modelId="{FFA276C8-49EE-4C45-A183-BE520EC39A81}" type="presParOf" srcId="{727EEC50-BED4-41C0-9D49-FD3EF5E3F925}" destId="{CCE4285D-39BA-4B43-8EB8-E7EC56D5CFC6}" srcOrd="1" destOrd="0" presId="urn:microsoft.com/office/officeart/2005/8/layout/list1"/>
    <dgm:cxn modelId="{7BCC26C1-0608-428D-8A13-125DB1856FF2}" type="presParOf" srcId="{0B4DD4F6-75D8-4F87-B9E5-C45D8F7B839D}" destId="{94677599-7790-4729-89B7-49F8F0A2969D}" srcOrd="13" destOrd="0" presId="urn:microsoft.com/office/officeart/2005/8/layout/list1"/>
    <dgm:cxn modelId="{9B6E792D-0050-46E3-911E-319D68DEBAF2}" type="presParOf" srcId="{0B4DD4F6-75D8-4F87-B9E5-C45D8F7B839D}" destId="{C543DA88-3F11-4999-A8F7-9CB5CCA63A17}" srcOrd="14" destOrd="0" presId="urn:microsoft.com/office/officeart/2005/8/layout/list1"/>
    <dgm:cxn modelId="{0B86B5DC-A88E-4B14-8FE1-8318A43AB169}" type="presParOf" srcId="{0B4DD4F6-75D8-4F87-B9E5-C45D8F7B839D}" destId="{074B2B9D-D9A6-410B-B718-4D36A467199B}" srcOrd="15" destOrd="0" presId="urn:microsoft.com/office/officeart/2005/8/layout/list1"/>
    <dgm:cxn modelId="{691F9FE2-DD5A-4195-96DD-5BF9BA72E1EE}" type="presParOf" srcId="{0B4DD4F6-75D8-4F87-B9E5-C45D8F7B839D}" destId="{AF54F764-D1D6-4F17-9D2E-779F417C4CC1}" srcOrd="16" destOrd="0" presId="urn:microsoft.com/office/officeart/2005/8/layout/list1"/>
    <dgm:cxn modelId="{24FA27D4-9099-4919-82A1-B16F604DA20E}" type="presParOf" srcId="{AF54F764-D1D6-4F17-9D2E-779F417C4CC1}" destId="{71FEF096-451D-4567-82AD-FC74A7D1C378}" srcOrd="0" destOrd="0" presId="urn:microsoft.com/office/officeart/2005/8/layout/list1"/>
    <dgm:cxn modelId="{17A78D04-5D24-45AB-9EB2-9582F8405D0B}" type="presParOf" srcId="{AF54F764-D1D6-4F17-9D2E-779F417C4CC1}" destId="{127F2994-A42D-44AB-82EB-32EDA057F4B5}" srcOrd="1" destOrd="0" presId="urn:microsoft.com/office/officeart/2005/8/layout/list1"/>
    <dgm:cxn modelId="{6A4D102E-4CFC-4F93-83A5-72703B237EE8}" type="presParOf" srcId="{0B4DD4F6-75D8-4F87-B9E5-C45D8F7B839D}" destId="{8B67147A-9928-49C7-A279-96F97F0FE42D}" srcOrd="17" destOrd="0" presId="urn:microsoft.com/office/officeart/2005/8/layout/list1"/>
    <dgm:cxn modelId="{093017C7-6453-424A-ADA4-756B1ED7FA3D}" type="presParOf" srcId="{0B4DD4F6-75D8-4F87-B9E5-C45D8F7B839D}" destId="{160F8F80-928B-4B0A-81BD-B6A659C52FEE}" srcOrd="18" destOrd="0" presId="urn:microsoft.com/office/officeart/2005/8/layout/list1"/>
    <dgm:cxn modelId="{F311004A-77E2-425C-BD26-8FF65BA41A71}" type="presParOf" srcId="{0B4DD4F6-75D8-4F87-B9E5-C45D8F7B839D}" destId="{023FC4E6-B981-4A78-A16F-8BC1C7EC7F11}" srcOrd="19" destOrd="0" presId="urn:microsoft.com/office/officeart/2005/8/layout/list1"/>
    <dgm:cxn modelId="{A92C4484-74D8-4DDD-9D1B-D72E6EEB14F8}" type="presParOf" srcId="{0B4DD4F6-75D8-4F87-B9E5-C45D8F7B839D}" destId="{C206C9B9-2A72-4CAF-8224-3DE051BD59F6}" srcOrd="20" destOrd="0" presId="urn:microsoft.com/office/officeart/2005/8/layout/list1"/>
    <dgm:cxn modelId="{9618AC24-4EE2-48ED-9577-F05F0574C355}" type="presParOf" srcId="{C206C9B9-2A72-4CAF-8224-3DE051BD59F6}" destId="{9C241BCC-3DBF-498D-9B35-F55E4DC0BBDA}" srcOrd="0" destOrd="0" presId="urn:microsoft.com/office/officeart/2005/8/layout/list1"/>
    <dgm:cxn modelId="{7FB838B5-3F9D-47E7-9CD3-65E9B15D163E}" type="presParOf" srcId="{C206C9B9-2A72-4CAF-8224-3DE051BD59F6}" destId="{9D591A3D-5D35-4F00-BA86-1A0A51AE1DC8}" srcOrd="1" destOrd="0" presId="urn:microsoft.com/office/officeart/2005/8/layout/list1"/>
    <dgm:cxn modelId="{9C61DE81-8EFF-4CB4-BF38-AE3251F4C8DE}" type="presParOf" srcId="{0B4DD4F6-75D8-4F87-B9E5-C45D8F7B839D}" destId="{BFA95915-692B-4967-881E-0E047C267A26}" srcOrd="21" destOrd="0" presId="urn:microsoft.com/office/officeart/2005/8/layout/list1"/>
    <dgm:cxn modelId="{7A1F99CC-349E-468C-A4EA-FD7E4DB59D9B}" type="presParOf" srcId="{0B4DD4F6-75D8-4F87-B9E5-C45D8F7B839D}" destId="{8FA665D9-A945-498B-A068-64F88C30ADF7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FA86C25-CC08-4814-ACDB-DB3412B4795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0DA6FDDD-B679-41B7-8F6F-525B9228EC07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Encountered challenges integrating frontend and backend code.</a:t>
          </a:r>
        </a:p>
        <a:p>
          <a:pPr>
            <a:lnSpc>
              <a:spcPct val="100000"/>
            </a:lnSpc>
          </a:pPr>
          <a:r>
            <a:rPr lang="en-US" b="0" i="0"/>
            <a:t>Learned about Cross-Origin Resource Sharing (CORS) to enable backend code access.</a:t>
          </a:r>
          <a:endParaRPr lang="en-US"/>
        </a:p>
      </dgm:t>
    </dgm:pt>
    <dgm:pt modelId="{5D74041F-DB1B-4A17-B440-EA0F9BCA8029}" type="parTrans" cxnId="{B31CE900-26AC-4038-A0F2-27452E737081}">
      <dgm:prSet/>
      <dgm:spPr/>
      <dgm:t>
        <a:bodyPr/>
        <a:lstStyle/>
        <a:p>
          <a:endParaRPr lang="en-US"/>
        </a:p>
      </dgm:t>
    </dgm:pt>
    <dgm:pt modelId="{4BC0420E-4922-486B-B511-F6D3BB88083F}" type="sibTrans" cxnId="{B31CE900-26AC-4038-A0F2-27452E737081}">
      <dgm:prSet/>
      <dgm:spPr/>
      <dgm:t>
        <a:bodyPr/>
        <a:lstStyle/>
        <a:p>
          <a:endParaRPr lang="en-US"/>
        </a:p>
      </dgm:t>
    </dgm:pt>
    <dgm:pt modelId="{DC156ED4-176E-4292-A664-24393AE690F8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Delved into Nginx and Kubernetes for efficient microservice deployment.</a:t>
          </a:r>
          <a:br>
            <a:rPr lang="en-US" b="0" i="0"/>
          </a:br>
          <a:r>
            <a:rPr lang="en-US" b="0" i="0"/>
            <a:t>Gained insights into developing a comprehensive application through microservice integration.</a:t>
          </a:r>
          <a:endParaRPr lang="en-US"/>
        </a:p>
      </dgm:t>
    </dgm:pt>
    <dgm:pt modelId="{03710CC7-9B5E-4F8D-98C9-737146E3C83A}" type="parTrans" cxnId="{1283D8E8-ED69-44B4-B276-BECDC2F04D2B}">
      <dgm:prSet/>
      <dgm:spPr/>
      <dgm:t>
        <a:bodyPr/>
        <a:lstStyle/>
        <a:p>
          <a:endParaRPr lang="en-US"/>
        </a:p>
      </dgm:t>
    </dgm:pt>
    <dgm:pt modelId="{86338F6C-50C4-4EDE-BF4A-F494F52E6213}" type="sibTrans" cxnId="{1283D8E8-ED69-44B4-B276-BECDC2F04D2B}">
      <dgm:prSet/>
      <dgm:spPr/>
      <dgm:t>
        <a:bodyPr/>
        <a:lstStyle/>
        <a:p>
          <a:endParaRPr lang="en-US"/>
        </a:p>
      </dgm:t>
    </dgm:pt>
    <dgm:pt modelId="{9EFA485C-7BD7-4FD3-A694-AA27E3062E3D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Dealt with server port contract complexities while interacting with other microservices.</a:t>
          </a:r>
          <a:br>
            <a:rPr lang="en-US" b="0" i="0"/>
          </a:br>
          <a:r>
            <a:rPr lang="en-US" b="0" i="0"/>
            <a:t>Learned about CICD pipeline Integration.</a:t>
          </a:r>
        </a:p>
      </dgm:t>
    </dgm:pt>
    <dgm:pt modelId="{DE3FD4C0-465C-4694-82EB-E27B56F0E2C3}" type="parTrans" cxnId="{5541EDC4-B43D-46E4-B012-470B509C47C0}">
      <dgm:prSet/>
      <dgm:spPr/>
      <dgm:t>
        <a:bodyPr/>
        <a:lstStyle/>
        <a:p>
          <a:endParaRPr lang="en-US"/>
        </a:p>
      </dgm:t>
    </dgm:pt>
    <dgm:pt modelId="{EC4A7150-6121-4EEA-A329-A3D8BF0793EC}" type="sibTrans" cxnId="{5541EDC4-B43D-46E4-B012-470B509C47C0}">
      <dgm:prSet/>
      <dgm:spPr/>
      <dgm:t>
        <a:bodyPr/>
        <a:lstStyle/>
        <a:p>
          <a:endParaRPr lang="en-US"/>
        </a:p>
      </dgm:t>
    </dgm:pt>
    <dgm:pt modelId="{AFFCE0F5-F8F4-4D72-B89A-5954672B5AEE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Faced challenges in maintaining API request and response contracts.</a:t>
          </a:r>
          <a:br>
            <a:rPr lang="en-US" b="0" i="0"/>
          </a:br>
          <a:r>
            <a:rPr lang="en-US" b="0" i="0"/>
            <a:t>Acquired skills to deploy the application in a cloud environment.</a:t>
          </a:r>
        </a:p>
      </dgm:t>
    </dgm:pt>
    <dgm:pt modelId="{61D0E437-1A01-4E17-86B6-792E81CBAEF6}" type="parTrans" cxnId="{18550CB5-CEB8-434F-A678-2E320E315A38}">
      <dgm:prSet/>
      <dgm:spPr/>
      <dgm:t>
        <a:bodyPr/>
        <a:lstStyle/>
        <a:p>
          <a:endParaRPr lang="en-US"/>
        </a:p>
      </dgm:t>
    </dgm:pt>
    <dgm:pt modelId="{62E28FEC-DA2C-4574-8B38-CB94C52A65B8}" type="sibTrans" cxnId="{18550CB5-CEB8-434F-A678-2E320E315A38}">
      <dgm:prSet/>
      <dgm:spPr/>
      <dgm:t>
        <a:bodyPr/>
        <a:lstStyle/>
        <a:p>
          <a:endParaRPr lang="en-US"/>
        </a:p>
      </dgm:t>
    </dgm:pt>
    <dgm:pt modelId="{F0B61D4F-530D-483E-A9AC-5DBFC976404D}" type="pres">
      <dgm:prSet presAssocID="{FFA86C25-CC08-4814-ACDB-DB3412B47958}" presName="root" presStyleCnt="0">
        <dgm:presLayoutVars>
          <dgm:dir/>
          <dgm:resizeHandles val="exact"/>
        </dgm:presLayoutVars>
      </dgm:prSet>
      <dgm:spPr/>
    </dgm:pt>
    <dgm:pt modelId="{74F5AFAD-3CF1-43AC-8B76-B6E3ADBEC0B1}" type="pres">
      <dgm:prSet presAssocID="{0DA6FDDD-B679-41B7-8F6F-525B9228EC07}" presName="compNode" presStyleCnt="0"/>
      <dgm:spPr/>
    </dgm:pt>
    <dgm:pt modelId="{3288B45E-A114-4AE1-8BFA-460BEF3A89F0}" type="pres">
      <dgm:prSet presAssocID="{0DA6FDDD-B679-41B7-8F6F-525B9228EC07}" presName="bgRect" presStyleLbl="bgShp" presStyleIdx="0" presStyleCnt="4"/>
      <dgm:spPr/>
    </dgm:pt>
    <dgm:pt modelId="{AD0FA14B-AD6B-4DB5-81B4-9D6722DBE29F}" type="pres">
      <dgm:prSet presAssocID="{0DA6FDDD-B679-41B7-8F6F-525B9228EC07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1B5B5585-D7CB-45CB-BEA4-23D8B20E73F1}" type="pres">
      <dgm:prSet presAssocID="{0DA6FDDD-B679-41B7-8F6F-525B9228EC07}" presName="spaceRect" presStyleCnt="0"/>
      <dgm:spPr/>
    </dgm:pt>
    <dgm:pt modelId="{771E4EDB-CD9B-458F-A70F-0ECBDEC6F0C6}" type="pres">
      <dgm:prSet presAssocID="{0DA6FDDD-B679-41B7-8F6F-525B9228EC07}" presName="parTx" presStyleLbl="revTx" presStyleIdx="0" presStyleCnt="4">
        <dgm:presLayoutVars>
          <dgm:chMax val="0"/>
          <dgm:chPref val="0"/>
        </dgm:presLayoutVars>
      </dgm:prSet>
      <dgm:spPr/>
    </dgm:pt>
    <dgm:pt modelId="{4F4E36A0-ACEF-4ECC-803C-767145D7CA24}" type="pres">
      <dgm:prSet presAssocID="{4BC0420E-4922-486B-B511-F6D3BB88083F}" presName="sibTrans" presStyleCnt="0"/>
      <dgm:spPr/>
    </dgm:pt>
    <dgm:pt modelId="{675CAEFD-3287-4C00-9D62-CB7D3A07B52A}" type="pres">
      <dgm:prSet presAssocID="{DC156ED4-176E-4292-A664-24393AE690F8}" presName="compNode" presStyleCnt="0"/>
      <dgm:spPr/>
    </dgm:pt>
    <dgm:pt modelId="{FE0BAF1A-416C-481A-9B82-FC512289713B}" type="pres">
      <dgm:prSet presAssocID="{DC156ED4-176E-4292-A664-24393AE690F8}" presName="bgRect" presStyleLbl="bgShp" presStyleIdx="1" presStyleCnt="4"/>
      <dgm:spPr/>
    </dgm:pt>
    <dgm:pt modelId="{8A004C2C-1445-499A-9C5F-4FBA6722CF00}" type="pres">
      <dgm:prSet presAssocID="{DC156ED4-176E-4292-A664-24393AE690F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C87469CB-F893-42B9-8A73-22C16840D485}" type="pres">
      <dgm:prSet presAssocID="{DC156ED4-176E-4292-A664-24393AE690F8}" presName="spaceRect" presStyleCnt="0"/>
      <dgm:spPr/>
    </dgm:pt>
    <dgm:pt modelId="{C3986CAD-7194-40DC-A63E-F97E9F571876}" type="pres">
      <dgm:prSet presAssocID="{DC156ED4-176E-4292-A664-24393AE690F8}" presName="parTx" presStyleLbl="revTx" presStyleIdx="1" presStyleCnt="4">
        <dgm:presLayoutVars>
          <dgm:chMax val="0"/>
          <dgm:chPref val="0"/>
        </dgm:presLayoutVars>
      </dgm:prSet>
      <dgm:spPr/>
    </dgm:pt>
    <dgm:pt modelId="{D10CF4B3-F6DE-4FD8-81A8-A2D5868492E5}" type="pres">
      <dgm:prSet presAssocID="{86338F6C-50C4-4EDE-BF4A-F494F52E6213}" presName="sibTrans" presStyleCnt="0"/>
      <dgm:spPr/>
    </dgm:pt>
    <dgm:pt modelId="{4B979168-5603-49CE-8987-EDA88B31CF21}" type="pres">
      <dgm:prSet presAssocID="{9EFA485C-7BD7-4FD3-A694-AA27E3062E3D}" presName="compNode" presStyleCnt="0"/>
      <dgm:spPr/>
    </dgm:pt>
    <dgm:pt modelId="{032C4EFF-057C-48FF-A5BE-1EF9F4ED2E89}" type="pres">
      <dgm:prSet presAssocID="{9EFA485C-7BD7-4FD3-A694-AA27E3062E3D}" presName="bgRect" presStyleLbl="bgShp" presStyleIdx="2" presStyleCnt="4"/>
      <dgm:spPr/>
    </dgm:pt>
    <dgm:pt modelId="{0343B661-6EC0-4C42-A25F-9E3C3006474C}" type="pres">
      <dgm:prSet presAssocID="{9EFA485C-7BD7-4FD3-A694-AA27E3062E3D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owchart"/>
        </a:ext>
      </dgm:extLst>
    </dgm:pt>
    <dgm:pt modelId="{6523536F-1383-47DE-8555-3BFC3E77DC13}" type="pres">
      <dgm:prSet presAssocID="{9EFA485C-7BD7-4FD3-A694-AA27E3062E3D}" presName="spaceRect" presStyleCnt="0"/>
      <dgm:spPr/>
    </dgm:pt>
    <dgm:pt modelId="{70BBFDCC-DA84-4E92-8863-0EA088CF470E}" type="pres">
      <dgm:prSet presAssocID="{9EFA485C-7BD7-4FD3-A694-AA27E3062E3D}" presName="parTx" presStyleLbl="revTx" presStyleIdx="2" presStyleCnt="4">
        <dgm:presLayoutVars>
          <dgm:chMax val="0"/>
          <dgm:chPref val="0"/>
        </dgm:presLayoutVars>
      </dgm:prSet>
      <dgm:spPr/>
    </dgm:pt>
    <dgm:pt modelId="{44E96DF0-148F-4C8D-B518-3863FCAD2D1D}" type="pres">
      <dgm:prSet presAssocID="{EC4A7150-6121-4EEA-A329-A3D8BF0793EC}" presName="sibTrans" presStyleCnt="0"/>
      <dgm:spPr/>
    </dgm:pt>
    <dgm:pt modelId="{58815EF0-E9EB-4B22-8935-F77CE66FD695}" type="pres">
      <dgm:prSet presAssocID="{AFFCE0F5-F8F4-4D72-B89A-5954672B5AEE}" presName="compNode" presStyleCnt="0"/>
      <dgm:spPr/>
    </dgm:pt>
    <dgm:pt modelId="{A9CBE7DD-D4CA-4ECA-BCDF-BEC2481AED45}" type="pres">
      <dgm:prSet presAssocID="{AFFCE0F5-F8F4-4D72-B89A-5954672B5AEE}" presName="bgRect" presStyleLbl="bgShp" presStyleIdx="3" presStyleCnt="4"/>
      <dgm:spPr/>
    </dgm:pt>
    <dgm:pt modelId="{6C366E13-0D96-4C29-BD20-0935064E0828}" type="pres">
      <dgm:prSet presAssocID="{AFFCE0F5-F8F4-4D72-B89A-5954672B5AEE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B3B640D8-16AC-47FA-A14C-4CD3145F7D0C}" type="pres">
      <dgm:prSet presAssocID="{AFFCE0F5-F8F4-4D72-B89A-5954672B5AEE}" presName="spaceRect" presStyleCnt="0"/>
      <dgm:spPr/>
    </dgm:pt>
    <dgm:pt modelId="{7C4F6D2C-02EA-448C-AA72-1806B6ABECB3}" type="pres">
      <dgm:prSet presAssocID="{AFFCE0F5-F8F4-4D72-B89A-5954672B5AEE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B31CE900-26AC-4038-A0F2-27452E737081}" srcId="{FFA86C25-CC08-4814-ACDB-DB3412B47958}" destId="{0DA6FDDD-B679-41B7-8F6F-525B9228EC07}" srcOrd="0" destOrd="0" parTransId="{5D74041F-DB1B-4A17-B440-EA0F9BCA8029}" sibTransId="{4BC0420E-4922-486B-B511-F6D3BB88083F}"/>
    <dgm:cxn modelId="{7DF73457-F74E-4E53-BD7F-BDED7F7F4706}" type="presOf" srcId="{DC156ED4-176E-4292-A664-24393AE690F8}" destId="{C3986CAD-7194-40DC-A63E-F97E9F571876}" srcOrd="0" destOrd="0" presId="urn:microsoft.com/office/officeart/2018/2/layout/IconVerticalSolidList"/>
    <dgm:cxn modelId="{A6E64184-3FFB-40D8-BEBA-F99ABB9C7EBC}" type="presOf" srcId="{0DA6FDDD-B679-41B7-8F6F-525B9228EC07}" destId="{771E4EDB-CD9B-458F-A70F-0ECBDEC6F0C6}" srcOrd="0" destOrd="0" presId="urn:microsoft.com/office/officeart/2018/2/layout/IconVerticalSolidList"/>
    <dgm:cxn modelId="{50625DA3-5AB3-42FB-BE30-3C0E4FBF3069}" type="presOf" srcId="{9EFA485C-7BD7-4FD3-A694-AA27E3062E3D}" destId="{70BBFDCC-DA84-4E92-8863-0EA088CF470E}" srcOrd="0" destOrd="0" presId="urn:microsoft.com/office/officeart/2018/2/layout/IconVerticalSolidList"/>
    <dgm:cxn modelId="{C6957CB0-122F-4ECF-8325-C6E76C44CFCE}" type="presOf" srcId="{AFFCE0F5-F8F4-4D72-B89A-5954672B5AEE}" destId="{7C4F6D2C-02EA-448C-AA72-1806B6ABECB3}" srcOrd="0" destOrd="0" presId="urn:microsoft.com/office/officeart/2018/2/layout/IconVerticalSolidList"/>
    <dgm:cxn modelId="{18550CB5-CEB8-434F-A678-2E320E315A38}" srcId="{FFA86C25-CC08-4814-ACDB-DB3412B47958}" destId="{AFFCE0F5-F8F4-4D72-B89A-5954672B5AEE}" srcOrd="3" destOrd="0" parTransId="{61D0E437-1A01-4E17-86B6-792E81CBAEF6}" sibTransId="{62E28FEC-DA2C-4574-8B38-CB94C52A65B8}"/>
    <dgm:cxn modelId="{8B5875BA-CF8F-4953-ADB7-9EAFDCBC6BBF}" type="presOf" srcId="{FFA86C25-CC08-4814-ACDB-DB3412B47958}" destId="{F0B61D4F-530D-483E-A9AC-5DBFC976404D}" srcOrd="0" destOrd="0" presId="urn:microsoft.com/office/officeart/2018/2/layout/IconVerticalSolidList"/>
    <dgm:cxn modelId="{5541EDC4-B43D-46E4-B012-470B509C47C0}" srcId="{FFA86C25-CC08-4814-ACDB-DB3412B47958}" destId="{9EFA485C-7BD7-4FD3-A694-AA27E3062E3D}" srcOrd="2" destOrd="0" parTransId="{DE3FD4C0-465C-4694-82EB-E27B56F0E2C3}" sibTransId="{EC4A7150-6121-4EEA-A329-A3D8BF0793EC}"/>
    <dgm:cxn modelId="{1283D8E8-ED69-44B4-B276-BECDC2F04D2B}" srcId="{FFA86C25-CC08-4814-ACDB-DB3412B47958}" destId="{DC156ED4-176E-4292-A664-24393AE690F8}" srcOrd="1" destOrd="0" parTransId="{03710CC7-9B5E-4F8D-98C9-737146E3C83A}" sibTransId="{86338F6C-50C4-4EDE-BF4A-F494F52E6213}"/>
    <dgm:cxn modelId="{067B144F-61A4-4256-BF63-47F191A80090}" type="presParOf" srcId="{F0B61D4F-530D-483E-A9AC-5DBFC976404D}" destId="{74F5AFAD-3CF1-43AC-8B76-B6E3ADBEC0B1}" srcOrd="0" destOrd="0" presId="urn:microsoft.com/office/officeart/2018/2/layout/IconVerticalSolidList"/>
    <dgm:cxn modelId="{E699A53A-26D6-42B1-9B0C-A10E958CCCD8}" type="presParOf" srcId="{74F5AFAD-3CF1-43AC-8B76-B6E3ADBEC0B1}" destId="{3288B45E-A114-4AE1-8BFA-460BEF3A89F0}" srcOrd="0" destOrd="0" presId="urn:microsoft.com/office/officeart/2018/2/layout/IconVerticalSolidList"/>
    <dgm:cxn modelId="{A1CBC231-736B-4BF6-BF00-F2ED783D0571}" type="presParOf" srcId="{74F5AFAD-3CF1-43AC-8B76-B6E3ADBEC0B1}" destId="{AD0FA14B-AD6B-4DB5-81B4-9D6722DBE29F}" srcOrd="1" destOrd="0" presId="urn:microsoft.com/office/officeart/2018/2/layout/IconVerticalSolidList"/>
    <dgm:cxn modelId="{502F6710-4D73-4EB8-B572-83D2AFEA9BBC}" type="presParOf" srcId="{74F5AFAD-3CF1-43AC-8B76-B6E3ADBEC0B1}" destId="{1B5B5585-D7CB-45CB-BEA4-23D8B20E73F1}" srcOrd="2" destOrd="0" presId="urn:microsoft.com/office/officeart/2018/2/layout/IconVerticalSolidList"/>
    <dgm:cxn modelId="{436AFF93-DACA-438D-AFE4-02AC6645BB8E}" type="presParOf" srcId="{74F5AFAD-3CF1-43AC-8B76-B6E3ADBEC0B1}" destId="{771E4EDB-CD9B-458F-A70F-0ECBDEC6F0C6}" srcOrd="3" destOrd="0" presId="urn:microsoft.com/office/officeart/2018/2/layout/IconVerticalSolidList"/>
    <dgm:cxn modelId="{78B851B6-4755-47C0-9F97-F0C33A2664EB}" type="presParOf" srcId="{F0B61D4F-530D-483E-A9AC-5DBFC976404D}" destId="{4F4E36A0-ACEF-4ECC-803C-767145D7CA24}" srcOrd="1" destOrd="0" presId="urn:microsoft.com/office/officeart/2018/2/layout/IconVerticalSolidList"/>
    <dgm:cxn modelId="{FAC286E6-D075-48F7-8CD8-991BDCEC4062}" type="presParOf" srcId="{F0B61D4F-530D-483E-A9AC-5DBFC976404D}" destId="{675CAEFD-3287-4C00-9D62-CB7D3A07B52A}" srcOrd="2" destOrd="0" presId="urn:microsoft.com/office/officeart/2018/2/layout/IconVerticalSolidList"/>
    <dgm:cxn modelId="{6F433716-3D04-43F5-8D58-EEFF4C4BC0BD}" type="presParOf" srcId="{675CAEFD-3287-4C00-9D62-CB7D3A07B52A}" destId="{FE0BAF1A-416C-481A-9B82-FC512289713B}" srcOrd="0" destOrd="0" presId="urn:microsoft.com/office/officeart/2018/2/layout/IconVerticalSolidList"/>
    <dgm:cxn modelId="{0C36FF3C-FAAE-412E-B246-D2D1C622C9B8}" type="presParOf" srcId="{675CAEFD-3287-4C00-9D62-CB7D3A07B52A}" destId="{8A004C2C-1445-499A-9C5F-4FBA6722CF00}" srcOrd="1" destOrd="0" presId="urn:microsoft.com/office/officeart/2018/2/layout/IconVerticalSolidList"/>
    <dgm:cxn modelId="{321BAD35-AE9D-4E57-B3F8-A894B84DAF80}" type="presParOf" srcId="{675CAEFD-3287-4C00-9D62-CB7D3A07B52A}" destId="{C87469CB-F893-42B9-8A73-22C16840D485}" srcOrd="2" destOrd="0" presId="urn:microsoft.com/office/officeart/2018/2/layout/IconVerticalSolidList"/>
    <dgm:cxn modelId="{6C74C2A5-B13C-4BE8-92A4-29A65EDCC3EA}" type="presParOf" srcId="{675CAEFD-3287-4C00-9D62-CB7D3A07B52A}" destId="{C3986CAD-7194-40DC-A63E-F97E9F571876}" srcOrd="3" destOrd="0" presId="urn:microsoft.com/office/officeart/2018/2/layout/IconVerticalSolidList"/>
    <dgm:cxn modelId="{ABB774F6-88D8-4376-9E99-6F4308DBE52F}" type="presParOf" srcId="{F0B61D4F-530D-483E-A9AC-5DBFC976404D}" destId="{D10CF4B3-F6DE-4FD8-81A8-A2D5868492E5}" srcOrd="3" destOrd="0" presId="urn:microsoft.com/office/officeart/2018/2/layout/IconVerticalSolidList"/>
    <dgm:cxn modelId="{201AD8D6-4909-4ABB-AC39-2E85FB7C41D7}" type="presParOf" srcId="{F0B61D4F-530D-483E-A9AC-5DBFC976404D}" destId="{4B979168-5603-49CE-8987-EDA88B31CF21}" srcOrd="4" destOrd="0" presId="urn:microsoft.com/office/officeart/2018/2/layout/IconVerticalSolidList"/>
    <dgm:cxn modelId="{8846BF11-2DA6-462F-87A7-BA2A7716912F}" type="presParOf" srcId="{4B979168-5603-49CE-8987-EDA88B31CF21}" destId="{032C4EFF-057C-48FF-A5BE-1EF9F4ED2E89}" srcOrd="0" destOrd="0" presId="urn:microsoft.com/office/officeart/2018/2/layout/IconVerticalSolidList"/>
    <dgm:cxn modelId="{157B3923-6DEE-431D-B695-BFF56C577F37}" type="presParOf" srcId="{4B979168-5603-49CE-8987-EDA88B31CF21}" destId="{0343B661-6EC0-4C42-A25F-9E3C3006474C}" srcOrd="1" destOrd="0" presId="urn:microsoft.com/office/officeart/2018/2/layout/IconVerticalSolidList"/>
    <dgm:cxn modelId="{F534E229-B7DB-46F9-8D7B-30CB96ECA69F}" type="presParOf" srcId="{4B979168-5603-49CE-8987-EDA88B31CF21}" destId="{6523536F-1383-47DE-8555-3BFC3E77DC13}" srcOrd="2" destOrd="0" presId="urn:microsoft.com/office/officeart/2018/2/layout/IconVerticalSolidList"/>
    <dgm:cxn modelId="{2A53072A-037B-4EF7-84E0-F30A1157B184}" type="presParOf" srcId="{4B979168-5603-49CE-8987-EDA88B31CF21}" destId="{70BBFDCC-DA84-4E92-8863-0EA088CF470E}" srcOrd="3" destOrd="0" presId="urn:microsoft.com/office/officeart/2018/2/layout/IconVerticalSolidList"/>
    <dgm:cxn modelId="{BF66E327-DBB9-4A4D-9327-6B730B19B5C8}" type="presParOf" srcId="{F0B61D4F-530D-483E-A9AC-5DBFC976404D}" destId="{44E96DF0-148F-4C8D-B518-3863FCAD2D1D}" srcOrd="5" destOrd="0" presId="urn:microsoft.com/office/officeart/2018/2/layout/IconVerticalSolidList"/>
    <dgm:cxn modelId="{E310E90D-8D09-4480-B132-70C3FEA6D090}" type="presParOf" srcId="{F0B61D4F-530D-483E-A9AC-5DBFC976404D}" destId="{58815EF0-E9EB-4B22-8935-F77CE66FD695}" srcOrd="6" destOrd="0" presId="urn:microsoft.com/office/officeart/2018/2/layout/IconVerticalSolidList"/>
    <dgm:cxn modelId="{874BC81B-8CA9-41D1-9069-A67016E13F25}" type="presParOf" srcId="{58815EF0-E9EB-4B22-8935-F77CE66FD695}" destId="{A9CBE7DD-D4CA-4ECA-BCDF-BEC2481AED45}" srcOrd="0" destOrd="0" presId="urn:microsoft.com/office/officeart/2018/2/layout/IconVerticalSolidList"/>
    <dgm:cxn modelId="{3C77FC31-E7F2-4840-8E11-C795B841C12D}" type="presParOf" srcId="{58815EF0-E9EB-4B22-8935-F77CE66FD695}" destId="{6C366E13-0D96-4C29-BD20-0935064E0828}" srcOrd="1" destOrd="0" presId="urn:microsoft.com/office/officeart/2018/2/layout/IconVerticalSolidList"/>
    <dgm:cxn modelId="{6E1D97A3-759B-4745-934F-729E9384E3B7}" type="presParOf" srcId="{58815EF0-E9EB-4B22-8935-F77CE66FD695}" destId="{B3B640D8-16AC-47FA-A14C-4CD3145F7D0C}" srcOrd="2" destOrd="0" presId="urn:microsoft.com/office/officeart/2018/2/layout/IconVerticalSolidList"/>
    <dgm:cxn modelId="{C5E321BA-3C90-413D-83A9-8609A14310A8}" type="presParOf" srcId="{58815EF0-E9EB-4B22-8935-F77CE66FD695}" destId="{7C4F6D2C-02EA-448C-AA72-1806B6ABECB3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C6F4960-A816-4582-9C24-614A339B4925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E94C743-76C2-4FB2-83CE-C27B6D272B97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pPr algn="ctr">
            <a:buFont typeface="Arial" panose="020B0604020202020204" pitchFamily="34" charset="0"/>
            <a:buNone/>
          </a:pPr>
          <a:r>
            <a:rPr lang="en-US" b="1" i="0"/>
            <a:t>Microservices Deployment:</a:t>
          </a:r>
          <a:endParaRPr lang="en-US" b="0" i="0"/>
        </a:p>
        <a:p>
          <a:pPr algn="ctr">
            <a:buFont typeface="Arial" panose="020B0604020202020204" pitchFamily="34" charset="0"/>
            <a:buChar char="•"/>
          </a:pPr>
          <a:r>
            <a:rPr lang="en-US" b="0" i="0"/>
            <a:t>Deployed microservices in Kubernetes on Google Cloud Platform (GCP).</a:t>
          </a:r>
        </a:p>
        <a:p>
          <a:pPr algn="ctr">
            <a:buFont typeface="Arial" panose="020B0604020202020204" pitchFamily="34" charset="0"/>
            <a:buChar char="•"/>
          </a:pPr>
          <a:r>
            <a:rPr lang="en-US" b="0" i="0"/>
            <a:t>Leveraged Nginx as the cloud gateway for enhanced scalability and security.</a:t>
          </a:r>
          <a:endParaRPr lang="en-US"/>
        </a:p>
      </dgm:t>
    </dgm:pt>
    <dgm:pt modelId="{3EB3CF99-A541-466C-AFD5-C73D200167F5}" type="parTrans" cxnId="{61AFC7C2-7D87-416E-919B-A3BF31FD35F2}">
      <dgm:prSet/>
      <dgm:spPr/>
      <dgm:t>
        <a:bodyPr/>
        <a:lstStyle/>
        <a:p>
          <a:endParaRPr lang="en-US"/>
        </a:p>
      </dgm:t>
    </dgm:pt>
    <dgm:pt modelId="{CE1E084F-A722-4AE8-B0D7-F2A943CDC89D}" type="sibTrans" cxnId="{61AFC7C2-7D87-416E-919B-A3BF31FD35F2}">
      <dgm:prSet/>
      <dgm:spPr/>
      <dgm:t>
        <a:bodyPr/>
        <a:lstStyle/>
        <a:p>
          <a:endParaRPr lang="en-US"/>
        </a:p>
      </dgm:t>
    </dgm:pt>
    <dgm:pt modelId="{DC91E4F2-6424-4835-B1A3-B0A21307F4EC}">
      <dgm:prSet phldrT="[Text]"/>
      <dgm:spPr>
        <a:solidFill>
          <a:schemeClr val="tx2">
            <a:lumMod val="75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 i="0"/>
            <a:t>Efficient CICD Pipeline:</a:t>
          </a:r>
          <a:endParaRPr lang="en-US" b="0" i="0"/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Established a Continuous Integration and Continuous Deployment (CICD) pipeline.</a:t>
          </a:r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Aims to reduce development time and ensure error-free deployments.</a:t>
          </a:r>
          <a:endParaRPr lang="en-US"/>
        </a:p>
      </dgm:t>
    </dgm:pt>
    <dgm:pt modelId="{D8842AA3-C0E7-40F5-80A4-91AD6DC1A5E6}" type="parTrans" cxnId="{1F099EEE-008C-4869-9FE0-B28E87114DD3}">
      <dgm:prSet/>
      <dgm:spPr/>
      <dgm:t>
        <a:bodyPr/>
        <a:lstStyle/>
        <a:p>
          <a:endParaRPr lang="en-US"/>
        </a:p>
      </dgm:t>
    </dgm:pt>
    <dgm:pt modelId="{240DD047-CFC0-4AB1-9CA3-2240A90E17B1}" type="sibTrans" cxnId="{1F099EEE-008C-4869-9FE0-B28E87114DD3}">
      <dgm:prSet/>
      <dgm:spPr/>
      <dgm:t>
        <a:bodyPr/>
        <a:lstStyle/>
        <a:p>
          <a:endParaRPr lang="en-US"/>
        </a:p>
      </dgm:t>
    </dgm:pt>
    <dgm:pt modelId="{C7AFEC7C-1AEC-45B5-ABF3-D031A28BFB55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 i="0"/>
            <a:t>Code Quality Assurance:</a:t>
          </a:r>
          <a:endParaRPr lang="en-US" b="0" i="0"/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Integrated with SonarQube for comprehensive code analysis.</a:t>
          </a:r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Implemented a Quality Gate to ensure only high-quality code is deployed.</a:t>
          </a:r>
          <a:endParaRPr lang="en-US"/>
        </a:p>
      </dgm:t>
    </dgm:pt>
    <dgm:pt modelId="{5EFCF0B7-26BE-4B12-A835-1AE4F727653F}" type="parTrans" cxnId="{0C925899-F2F6-4D1B-AF49-B4B3C598FDE9}">
      <dgm:prSet/>
      <dgm:spPr/>
      <dgm:t>
        <a:bodyPr/>
        <a:lstStyle/>
        <a:p>
          <a:endParaRPr lang="en-US"/>
        </a:p>
      </dgm:t>
    </dgm:pt>
    <dgm:pt modelId="{1E429F0A-C09D-4385-BAAE-429D041D9839}" type="sibTrans" cxnId="{0C925899-F2F6-4D1B-AF49-B4B3C598FDE9}">
      <dgm:prSet/>
      <dgm:spPr/>
      <dgm:t>
        <a:bodyPr/>
        <a:lstStyle/>
        <a:p>
          <a:endParaRPr lang="en-US"/>
        </a:p>
      </dgm:t>
    </dgm:pt>
    <dgm:pt modelId="{CE7A20E0-616D-49E1-B162-975D77FA3877}" type="pres">
      <dgm:prSet presAssocID="{EC6F4960-A816-4582-9C24-614A339B4925}" presName="linearFlow" presStyleCnt="0">
        <dgm:presLayoutVars>
          <dgm:dir/>
          <dgm:resizeHandles val="exact"/>
        </dgm:presLayoutVars>
      </dgm:prSet>
      <dgm:spPr/>
    </dgm:pt>
    <dgm:pt modelId="{B52C1277-E7F9-4BDA-968D-FB7AE21FDDD1}" type="pres">
      <dgm:prSet presAssocID="{5E94C743-76C2-4FB2-83CE-C27B6D272B97}" presName="composite" presStyleCnt="0"/>
      <dgm:spPr/>
    </dgm:pt>
    <dgm:pt modelId="{6A0A45F0-C465-4782-A218-2CAE5BAE505E}" type="pres">
      <dgm:prSet presAssocID="{5E94C743-76C2-4FB2-83CE-C27B6D272B97}" presName="imgShp" presStyleLbl="fgImgPlace1" presStyleIdx="0" presStyleCnt="3"/>
      <dgm:spPr>
        <a:prstGeom prst="flowChartProcess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CEA110CD-288C-475E-8638-AAFB852002B1}" type="pres">
      <dgm:prSet presAssocID="{5E94C743-76C2-4FB2-83CE-C27B6D272B97}" presName="txShp" presStyleLbl="node1" presStyleIdx="0" presStyleCnt="3" custLinFactNeighborY="-223">
        <dgm:presLayoutVars>
          <dgm:bulletEnabled val="1"/>
        </dgm:presLayoutVars>
      </dgm:prSet>
      <dgm:spPr/>
    </dgm:pt>
    <dgm:pt modelId="{C2971DFB-BD01-4668-8F0A-7980ADA55B22}" type="pres">
      <dgm:prSet presAssocID="{CE1E084F-A722-4AE8-B0D7-F2A943CDC89D}" presName="spacing" presStyleCnt="0"/>
      <dgm:spPr/>
    </dgm:pt>
    <dgm:pt modelId="{6D3A06AF-1B62-42DD-B62F-5655BF448A8C}" type="pres">
      <dgm:prSet presAssocID="{DC91E4F2-6424-4835-B1A3-B0A21307F4EC}" presName="composite" presStyleCnt="0"/>
      <dgm:spPr/>
    </dgm:pt>
    <dgm:pt modelId="{B11C4C84-271D-4FF6-AF00-7772BF25981B}" type="pres">
      <dgm:prSet presAssocID="{DC91E4F2-6424-4835-B1A3-B0A21307F4EC}" presName="imgShp" presStyleLbl="fgImgPlace1" presStyleIdx="1" presStyleCnt="3" custScaleX="104033"/>
      <dgm:spPr>
        <a:prstGeom prst="flowChartProcess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</dgm:pt>
    <dgm:pt modelId="{604A57A5-595B-4623-AE8F-241B79B3D1D4}" type="pres">
      <dgm:prSet presAssocID="{DC91E4F2-6424-4835-B1A3-B0A21307F4EC}" presName="txShp" presStyleLbl="node1" presStyleIdx="1" presStyleCnt="3" custScaleX="100368">
        <dgm:presLayoutVars>
          <dgm:bulletEnabled val="1"/>
        </dgm:presLayoutVars>
      </dgm:prSet>
      <dgm:spPr/>
    </dgm:pt>
    <dgm:pt modelId="{8CF2A78F-C80C-4B72-B7B1-85EAECBA6D71}" type="pres">
      <dgm:prSet presAssocID="{240DD047-CFC0-4AB1-9CA3-2240A90E17B1}" presName="spacing" presStyleCnt="0"/>
      <dgm:spPr/>
    </dgm:pt>
    <dgm:pt modelId="{9D00515A-0D04-42E4-8E60-6E2FDB00D91C}" type="pres">
      <dgm:prSet presAssocID="{C7AFEC7C-1AEC-45B5-ABF3-D031A28BFB55}" presName="composite" presStyleCnt="0"/>
      <dgm:spPr/>
    </dgm:pt>
    <dgm:pt modelId="{EE9EF83F-344F-4043-998B-42C10A77D0B5}" type="pres">
      <dgm:prSet presAssocID="{C7AFEC7C-1AEC-45B5-ABF3-D031A28BFB55}" presName="imgShp" presStyleLbl="fgImgPlace1" presStyleIdx="2" presStyleCnt="3" custScaleX="116001"/>
      <dgm:spPr>
        <a:prstGeom prst="flowChartProcess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</dgm:spPr>
    </dgm:pt>
    <dgm:pt modelId="{CB7B2A6A-9800-4141-A697-7784B05525CD}" type="pres">
      <dgm:prSet presAssocID="{C7AFEC7C-1AEC-45B5-ABF3-D031A28BFB55}" presName="txShp" presStyleLbl="node1" presStyleIdx="2" presStyleCnt="3">
        <dgm:presLayoutVars>
          <dgm:bulletEnabled val="1"/>
        </dgm:presLayoutVars>
      </dgm:prSet>
      <dgm:spPr/>
    </dgm:pt>
  </dgm:ptLst>
  <dgm:cxnLst>
    <dgm:cxn modelId="{7E32B30D-D53A-456A-A746-3E734810E5BD}" type="presOf" srcId="{C7AFEC7C-1AEC-45B5-ABF3-D031A28BFB55}" destId="{CB7B2A6A-9800-4141-A697-7784B05525CD}" srcOrd="0" destOrd="0" presId="urn:microsoft.com/office/officeart/2005/8/layout/vList3"/>
    <dgm:cxn modelId="{55A44B64-ED80-4089-B34A-0A0BED9CAD8B}" type="presOf" srcId="{EC6F4960-A816-4582-9C24-614A339B4925}" destId="{CE7A20E0-616D-49E1-B162-975D77FA3877}" srcOrd="0" destOrd="0" presId="urn:microsoft.com/office/officeart/2005/8/layout/vList3"/>
    <dgm:cxn modelId="{0C925899-F2F6-4D1B-AF49-B4B3C598FDE9}" srcId="{EC6F4960-A816-4582-9C24-614A339B4925}" destId="{C7AFEC7C-1AEC-45B5-ABF3-D031A28BFB55}" srcOrd="2" destOrd="0" parTransId="{5EFCF0B7-26BE-4B12-A835-1AE4F727653F}" sibTransId="{1E429F0A-C09D-4385-BAAE-429D041D9839}"/>
    <dgm:cxn modelId="{9E2F81BA-D419-4076-BB1D-1497E1DAC177}" type="presOf" srcId="{5E94C743-76C2-4FB2-83CE-C27B6D272B97}" destId="{CEA110CD-288C-475E-8638-AAFB852002B1}" srcOrd="0" destOrd="0" presId="urn:microsoft.com/office/officeart/2005/8/layout/vList3"/>
    <dgm:cxn modelId="{61AFC7C2-7D87-416E-919B-A3BF31FD35F2}" srcId="{EC6F4960-A816-4582-9C24-614A339B4925}" destId="{5E94C743-76C2-4FB2-83CE-C27B6D272B97}" srcOrd="0" destOrd="0" parTransId="{3EB3CF99-A541-466C-AFD5-C73D200167F5}" sibTransId="{CE1E084F-A722-4AE8-B0D7-F2A943CDC89D}"/>
    <dgm:cxn modelId="{EE53D4CD-D27C-4512-AFAC-07F04887438C}" type="presOf" srcId="{DC91E4F2-6424-4835-B1A3-B0A21307F4EC}" destId="{604A57A5-595B-4623-AE8F-241B79B3D1D4}" srcOrd="0" destOrd="0" presId="urn:microsoft.com/office/officeart/2005/8/layout/vList3"/>
    <dgm:cxn modelId="{1F099EEE-008C-4869-9FE0-B28E87114DD3}" srcId="{EC6F4960-A816-4582-9C24-614A339B4925}" destId="{DC91E4F2-6424-4835-B1A3-B0A21307F4EC}" srcOrd="1" destOrd="0" parTransId="{D8842AA3-C0E7-40F5-80A4-91AD6DC1A5E6}" sibTransId="{240DD047-CFC0-4AB1-9CA3-2240A90E17B1}"/>
    <dgm:cxn modelId="{1582696C-0E53-4C7D-8B0E-A131794BA3D3}" type="presParOf" srcId="{CE7A20E0-616D-49E1-B162-975D77FA3877}" destId="{B52C1277-E7F9-4BDA-968D-FB7AE21FDDD1}" srcOrd="0" destOrd="0" presId="urn:microsoft.com/office/officeart/2005/8/layout/vList3"/>
    <dgm:cxn modelId="{0DEB8FFD-8CB9-44B9-B987-BE80EE85338D}" type="presParOf" srcId="{B52C1277-E7F9-4BDA-968D-FB7AE21FDDD1}" destId="{6A0A45F0-C465-4782-A218-2CAE5BAE505E}" srcOrd="0" destOrd="0" presId="urn:microsoft.com/office/officeart/2005/8/layout/vList3"/>
    <dgm:cxn modelId="{70E0916E-8BBB-4A2D-9007-824336469C7D}" type="presParOf" srcId="{B52C1277-E7F9-4BDA-968D-FB7AE21FDDD1}" destId="{CEA110CD-288C-475E-8638-AAFB852002B1}" srcOrd="1" destOrd="0" presId="urn:microsoft.com/office/officeart/2005/8/layout/vList3"/>
    <dgm:cxn modelId="{6EA7A23F-FDAB-454B-B37F-C942F628183D}" type="presParOf" srcId="{CE7A20E0-616D-49E1-B162-975D77FA3877}" destId="{C2971DFB-BD01-4668-8F0A-7980ADA55B22}" srcOrd="1" destOrd="0" presId="urn:microsoft.com/office/officeart/2005/8/layout/vList3"/>
    <dgm:cxn modelId="{27C735AE-43AB-4D6F-99CE-C2FDDBC7C2E0}" type="presParOf" srcId="{CE7A20E0-616D-49E1-B162-975D77FA3877}" destId="{6D3A06AF-1B62-42DD-B62F-5655BF448A8C}" srcOrd="2" destOrd="0" presId="urn:microsoft.com/office/officeart/2005/8/layout/vList3"/>
    <dgm:cxn modelId="{8E84E71E-F48C-4122-B4B6-078D4D2F76C7}" type="presParOf" srcId="{6D3A06AF-1B62-42DD-B62F-5655BF448A8C}" destId="{B11C4C84-271D-4FF6-AF00-7772BF25981B}" srcOrd="0" destOrd="0" presId="urn:microsoft.com/office/officeart/2005/8/layout/vList3"/>
    <dgm:cxn modelId="{AB5DD6A5-537E-47EB-A98F-4AA76C6246DE}" type="presParOf" srcId="{6D3A06AF-1B62-42DD-B62F-5655BF448A8C}" destId="{604A57A5-595B-4623-AE8F-241B79B3D1D4}" srcOrd="1" destOrd="0" presId="urn:microsoft.com/office/officeart/2005/8/layout/vList3"/>
    <dgm:cxn modelId="{135ED4D6-5409-4F77-BC12-09887817469F}" type="presParOf" srcId="{CE7A20E0-616D-49E1-B162-975D77FA3877}" destId="{8CF2A78F-C80C-4B72-B7B1-85EAECBA6D71}" srcOrd="3" destOrd="0" presId="urn:microsoft.com/office/officeart/2005/8/layout/vList3"/>
    <dgm:cxn modelId="{75E68CBF-311D-4823-8334-8F7FA3D715FE}" type="presParOf" srcId="{CE7A20E0-616D-49E1-B162-975D77FA3877}" destId="{9D00515A-0D04-42E4-8E60-6E2FDB00D91C}" srcOrd="4" destOrd="0" presId="urn:microsoft.com/office/officeart/2005/8/layout/vList3"/>
    <dgm:cxn modelId="{C6C84892-01DC-4769-A670-3DF4A036689F}" type="presParOf" srcId="{9D00515A-0D04-42E4-8E60-6E2FDB00D91C}" destId="{EE9EF83F-344F-4043-998B-42C10A77D0B5}" srcOrd="0" destOrd="0" presId="urn:microsoft.com/office/officeart/2005/8/layout/vList3"/>
    <dgm:cxn modelId="{1C758A98-F45A-41AF-8D05-C057B4834196}" type="presParOf" srcId="{9D00515A-0D04-42E4-8E60-6E2FDB00D91C}" destId="{CB7B2A6A-9800-4141-A697-7784B05525CD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8EA0A0-8114-43DC-85FF-216AAF905022}">
      <dsp:nvSpPr>
        <dsp:cNvPr id="0" name=""/>
        <dsp:cNvSpPr/>
      </dsp:nvSpPr>
      <dsp:spPr>
        <a:xfrm>
          <a:off x="1327360" y="1578112"/>
          <a:ext cx="916659" cy="916659"/>
        </a:xfrm>
        <a:prstGeom prst="ellipse">
          <a:avLst/>
        </a:prstGeom>
        <a:solidFill>
          <a:schemeClr val="bg1">
            <a:lumMod val="6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8</a:t>
          </a:r>
          <a:br>
            <a:rPr lang="en-US" sz="1600" kern="1200"/>
          </a:br>
          <a:r>
            <a:rPr lang="en-US" sz="1600" kern="1200"/>
            <a:t>OMCSS</a:t>
          </a:r>
        </a:p>
      </dsp:txBody>
      <dsp:txXfrm>
        <a:off x="1461602" y="1712354"/>
        <a:ext cx="648175" cy="648175"/>
      </dsp:txXfrm>
    </dsp:sp>
    <dsp:sp modelId="{BC515750-7DA6-4286-AB16-8039AFE6643B}">
      <dsp:nvSpPr>
        <dsp:cNvPr id="0" name=""/>
        <dsp:cNvSpPr/>
      </dsp:nvSpPr>
      <dsp:spPr>
        <a:xfrm rot="16200000">
          <a:off x="1688298" y="1244034"/>
          <a:ext cx="194784" cy="311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kern="1200"/>
        </a:p>
      </dsp:txBody>
      <dsp:txXfrm>
        <a:off x="1717516" y="1335585"/>
        <a:ext cx="136349" cy="186998"/>
      </dsp:txXfrm>
    </dsp:sp>
    <dsp:sp modelId="{FF8903E1-5F85-4EA1-BC31-24E66CB37A06}">
      <dsp:nvSpPr>
        <dsp:cNvPr id="0" name=""/>
        <dsp:cNvSpPr/>
      </dsp:nvSpPr>
      <dsp:spPr>
        <a:xfrm>
          <a:off x="1212778" y="64770"/>
          <a:ext cx="1145824" cy="1145824"/>
        </a:xfrm>
        <a:prstGeom prst="ellipse">
          <a:avLst/>
        </a:prstGeom>
        <a:solidFill>
          <a:srgbClr val="00B0F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4</a:t>
          </a:r>
          <a:br>
            <a:rPr lang="en-US" sz="1600" kern="1200"/>
          </a:br>
          <a:r>
            <a:rPr lang="en-US" sz="1600" kern="1200"/>
            <a:t>CART</a:t>
          </a:r>
        </a:p>
      </dsp:txBody>
      <dsp:txXfrm>
        <a:off x="1380580" y="232572"/>
        <a:ext cx="810220" cy="810220"/>
      </dsp:txXfrm>
    </dsp:sp>
    <dsp:sp modelId="{D1CEF352-46A4-488C-99CB-95388757A2E0}">
      <dsp:nvSpPr>
        <dsp:cNvPr id="0" name=""/>
        <dsp:cNvSpPr/>
      </dsp:nvSpPr>
      <dsp:spPr>
        <a:xfrm rot="1800000">
          <a:off x="2239589" y="2198898"/>
          <a:ext cx="194784" cy="311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kern="1200"/>
        </a:p>
      </dsp:txBody>
      <dsp:txXfrm>
        <a:off x="2243503" y="2246622"/>
        <a:ext cx="136349" cy="186998"/>
      </dsp:txXfrm>
    </dsp:sp>
    <dsp:sp modelId="{694B7C5D-AFC5-43C0-BC3A-FD5DBC6B77F4}">
      <dsp:nvSpPr>
        <dsp:cNvPr id="0" name=""/>
        <dsp:cNvSpPr/>
      </dsp:nvSpPr>
      <dsp:spPr>
        <a:xfrm>
          <a:off x="2424139" y="2162910"/>
          <a:ext cx="1145824" cy="1145824"/>
        </a:xfrm>
        <a:prstGeom prst="ellipse">
          <a:avLst/>
        </a:prstGeom>
        <a:solidFill>
          <a:srgbClr val="FF660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7</a:t>
          </a:r>
          <a:br>
            <a:rPr lang="en-US" sz="1600" kern="1200"/>
          </a:br>
          <a:r>
            <a:rPr lang="en-US" sz="1600" kern="1200"/>
            <a:t>TRACKER </a:t>
          </a:r>
        </a:p>
      </dsp:txBody>
      <dsp:txXfrm>
        <a:off x="2591941" y="2330712"/>
        <a:ext cx="810220" cy="810220"/>
      </dsp:txXfrm>
    </dsp:sp>
    <dsp:sp modelId="{7327BEBF-24A3-401B-A22F-38A988197332}">
      <dsp:nvSpPr>
        <dsp:cNvPr id="0" name=""/>
        <dsp:cNvSpPr/>
      </dsp:nvSpPr>
      <dsp:spPr>
        <a:xfrm rot="9000000">
          <a:off x="1137007" y="2198898"/>
          <a:ext cx="194784" cy="311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kern="1200"/>
        </a:p>
      </dsp:txBody>
      <dsp:txXfrm rot="10800000">
        <a:off x="1191528" y="2246622"/>
        <a:ext cx="136349" cy="186998"/>
      </dsp:txXfrm>
    </dsp:sp>
    <dsp:sp modelId="{9D0FAEA3-1BFD-410D-831A-9DFFFFCD6A36}">
      <dsp:nvSpPr>
        <dsp:cNvPr id="0" name=""/>
        <dsp:cNvSpPr/>
      </dsp:nvSpPr>
      <dsp:spPr>
        <a:xfrm>
          <a:off x="1416" y="2162910"/>
          <a:ext cx="1145824" cy="1145824"/>
        </a:xfrm>
        <a:prstGeom prst="ellipse">
          <a:avLst/>
        </a:prstGeom>
        <a:solidFill>
          <a:srgbClr val="92D05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6</a:t>
          </a:r>
          <a:br>
            <a:rPr lang="en-US" sz="1600" kern="1200"/>
          </a:br>
          <a:r>
            <a:rPr lang="en-US" sz="1600" kern="1200"/>
            <a:t>ORDER </a:t>
          </a:r>
        </a:p>
      </dsp:txBody>
      <dsp:txXfrm>
        <a:off x="169218" y="2330712"/>
        <a:ext cx="810220" cy="8102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E93BCA-4615-456E-99E3-03FAB716A861}">
      <dsp:nvSpPr>
        <dsp:cNvPr id="0" name=""/>
        <dsp:cNvSpPr/>
      </dsp:nvSpPr>
      <dsp:spPr>
        <a:xfrm>
          <a:off x="0" y="272122"/>
          <a:ext cx="5393361" cy="1386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8585" tIns="166624" rIns="41858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>
              <a:latin typeface="Calibri" panose="020F0502020204030204"/>
              <a:ea typeface="+mn-ea"/>
              <a:cs typeface="+mn-cs"/>
            </a:rPr>
            <a:t>CartNotFoundException: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Handles instances where a cart is not found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Returns a 404 Not found status with a user-friendly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OrderNotFoundException:</a:t>
          </a:r>
          <a:endParaRPr lang="en-US" sz="800" u="sng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Handles instances where an order is not found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Returns a 404 Not found status with a user-friendly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InvalidCartException:</a:t>
          </a:r>
          <a:endParaRPr lang="en-US" sz="800" u="sng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Handles instances where a cart is invalid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Returns a 404 Not Found status with a user-friendly error message.</a:t>
          </a:r>
        </a:p>
      </dsp:txBody>
      <dsp:txXfrm>
        <a:off x="0" y="272122"/>
        <a:ext cx="5393361" cy="1386000"/>
      </dsp:txXfrm>
    </dsp:sp>
    <dsp:sp modelId="{CCDEA29F-1392-4961-A243-70174805EA95}">
      <dsp:nvSpPr>
        <dsp:cNvPr id="0" name=""/>
        <dsp:cNvSpPr/>
      </dsp:nvSpPr>
      <dsp:spPr>
        <a:xfrm>
          <a:off x="269668" y="154042"/>
          <a:ext cx="3775352" cy="23616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699" tIns="0" rIns="142699" bIns="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User Defined Exception</a:t>
          </a:r>
        </a:p>
      </dsp:txBody>
      <dsp:txXfrm>
        <a:off x="281196" y="165570"/>
        <a:ext cx="3752296" cy="213104"/>
      </dsp:txXfrm>
    </dsp:sp>
    <dsp:sp modelId="{5C9F6AC1-5258-45F9-9CD2-B61B9ACFD1DA}">
      <dsp:nvSpPr>
        <dsp:cNvPr id="0" name=""/>
        <dsp:cNvSpPr/>
      </dsp:nvSpPr>
      <dsp:spPr>
        <a:xfrm>
          <a:off x="0" y="1819402"/>
          <a:ext cx="5393361" cy="113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-3379271"/>
              <a:satOff val="-8710"/>
              <a:lumOff val="-5883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8585" tIns="166624" rIns="41858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CartServiceException</a:t>
          </a:r>
          <a:r>
            <a:rPr lang="en-US" sz="800" b="1" i="0" kern="1200"/>
            <a:t>:</a:t>
          </a: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Handles exceptions related to the cart servic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OrderServiceException</a:t>
          </a:r>
          <a:r>
            <a:rPr lang="en-US" sz="800" b="1" i="0" kern="1200"/>
            <a:t>:</a:t>
          </a: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Handles exceptions related to the order servic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</dsp:txBody>
      <dsp:txXfrm>
        <a:off x="0" y="1819402"/>
        <a:ext cx="5393361" cy="1134000"/>
      </dsp:txXfrm>
    </dsp:sp>
    <dsp:sp modelId="{617F5106-3CAE-43BB-B769-E3F3AFA73F39}">
      <dsp:nvSpPr>
        <dsp:cNvPr id="0" name=""/>
        <dsp:cNvSpPr/>
      </dsp:nvSpPr>
      <dsp:spPr>
        <a:xfrm>
          <a:off x="269668" y="1701322"/>
          <a:ext cx="3775352" cy="236160"/>
        </a:xfrm>
        <a:prstGeom prst="roundRect">
          <a:avLst/>
        </a:prstGeom>
        <a:gradFill rotWithShape="0">
          <a:gsLst>
            <a:gs pos="0">
              <a:schemeClr val="accent5">
                <a:hueOff val="-3379271"/>
                <a:satOff val="-8710"/>
                <a:lumOff val="-588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3379271"/>
                <a:satOff val="-8710"/>
                <a:lumOff val="-588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3379271"/>
                <a:satOff val="-8710"/>
                <a:lumOff val="-588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699" tIns="0" rIns="142699" bIns="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Fallback Mechanism</a:t>
          </a:r>
        </a:p>
      </dsp:txBody>
      <dsp:txXfrm>
        <a:off x="281196" y="1712850"/>
        <a:ext cx="3752296" cy="213104"/>
      </dsp:txXfrm>
    </dsp:sp>
    <dsp:sp modelId="{0E4A9C8B-2E35-435E-8A86-53C128AFAE24}">
      <dsp:nvSpPr>
        <dsp:cNvPr id="0" name=""/>
        <dsp:cNvSpPr/>
      </dsp:nvSpPr>
      <dsp:spPr>
        <a:xfrm>
          <a:off x="0" y="3114682"/>
          <a:ext cx="5393361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-6758543"/>
              <a:satOff val="-17419"/>
              <a:lumOff val="-1176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8585" tIns="166624" rIns="41858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US" sz="800" b="1" i="0" u="sng" kern="1200">
              <a:latin typeface="+mn-lt"/>
            </a:rPr>
            <a:t>Exception</a:t>
          </a:r>
          <a:r>
            <a:rPr lang="en-US" sz="800" b="1" i="0" u="sng" kern="1200"/>
            <a:t>:</a:t>
          </a:r>
          <a:br>
            <a:rPr lang="en-US" sz="800" b="1" i="0" kern="1200"/>
          </a:b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Serves as a fallback for unhandled exceptions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Returns a 500 Internal Server Error status with a generic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Encourages users to refresh the page and notifies about an internal server error.</a:t>
          </a:r>
        </a:p>
      </dsp:txBody>
      <dsp:txXfrm>
        <a:off x="0" y="3114682"/>
        <a:ext cx="5393361" cy="856800"/>
      </dsp:txXfrm>
    </dsp:sp>
    <dsp:sp modelId="{77CAFDF5-657D-424F-A6D0-10605489DECF}">
      <dsp:nvSpPr>
        <dsp:cNvPr id="0" name=""/>
        <dsp:cNvSpPr/>
      </dsp:nvSpPr>
      <dsp:spPr>
        <a:xfrm>
          <a:off x="269668" y="2996602"/>
          <a:ext cx="3775352" cy="236160"/>
        </a:xfrm>
        <a:prstGeom prst="roundRect">
          <a:avLst/>
        </a:prstGeom>
        <a:gradFill rotWithShape="0">
          <a:gsLst>
            <a:gs pos="0">
              <a:schemeClr val="accent5">
                <a:hueOff val="-6758543"/>
                <a:satOff val="-17419"/>
                <a:lumOff val="-1176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6758543"/>
                <a:satOff val="-17419"/>
                <a:lumOff val="-1176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6758543"/>
                <a:satOff val="-17419"/>
                <a:lumOff val="-1176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699" tIns="0" rIns="142699" bIns="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Generic Exception</a:t>
          </a:r>
        </a:p>
      </dsp:txBody>
      <dsp:txXfrm>
        <a:off x="281196" y="3008130"/>
        <a:ext cx="3752296" cy="21310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C24D85-88A7-43D8-96E3-B2BB523F91B3}">
      <dsp:nvSpPr>
        <dsp:cNvPr id="0" name=""/>
        <dsp:cNvSpPr/>
      </dsp:nvSpPr>
      <dsp:spPr>
        <a:xfrm>
          <a:off x="0" y="189862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Utilize Git for tracking changes, collaboration, and code history management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mploy branching for new features and bug fixes, utilizing pull requests for code reviews.</a:t>
          </a:r>
          <a:endParaRPr lang="en-US" sz="1100" kern="1200"/>
        </a:p>
      </dsp:txBody>
      <dsp:txXfrm>
        <a:off x="0" y="189862"/>
        <a:ext cx="6900512" cy="641024"/>
      </dsp:txXfrm>
    </dsp:sp>
    <dsp:sp modelId="{498DD7D5-B2F2-4F35-8B17-E0786705554A}">
      <dsp:nvSpPr>
        <dsp:cNvPr id="0" name=""/>
        <dsp:cNvSpPr/>
      </dsp:nvSpPr>
      <dsp:spPr>
        <a:xfrm>
          <a:off x="345025" y="27502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Version Control:</a:t>
          </a:r>
          <a:endParaRPr lang="en-US" sz="1100" kern="1200"/>
        </a:p>
      </dsp:txBody>
      <dsp:txXfrm>
        <a:off x="360877" y="43354"/>
        <a:ext cx="4798654" cy="293016"/>
      </dsp:txXfrm>
    </dsp:sp>
    <dsp:sp modelId="{970AA986-FAF4-43CB-BBCF-39AA40E7E377}">
      <dsp:nvSpPr>
        <dsp:cNvPr id="0" name=""/>
        <dsp:cNvSpPr/>
      </dsp:nvSpPr>
      <dsp:spPr>
        <a:xfrm>
          <a:off x="0" y="1052647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Implement CI/CD pipelines to automate build, test, and deployment processe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mbrace frequent code deployment to minimize integration issues.</a:t>
          </a:r>
          <a:endParaRPr lang="en-US" sz="1100" kern="1200"/>
        </a:p>
      </dsp:txBody>
      <dsp:txXfrm>
        <a:off x="0" y="1052647"/>
        <a:ext cx="6900512" cy="641024"/>
      </dsp:txXfrm>
    </dsp:sp>
    <dsp:sp modelId="{710C7740-8935-488B-BF62-5E5D465B46EF}">
      <dsp:nvSpPr>
        <dsp:cNvPr id="0" name=""/>
        <dsp:cNvSpPr/>
      </dsp:nvSpPr>
      <dsp:spPr>
        <a:xfrm>
          <a:off x="345025" y="890287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CI/CD Integration:</a:t>
          </a:r>
          <a:endParaRPr lang="en-US" sz="1100" kern="1200"/>
        </a:p>
      </dsp:txBody>
      <dsp:txXfrm>
        <a:off x="360877" y="906139"/>
        <a:ext cx="4798654" cy="293016"/>
      </dsp:txXfrm>
    </dsp:sp>
    <dsp:sp modelId="{20113647-B0E1-4F52-ADF3-A7BFA7A8A1C4}">
      <dsp:nvSpPr>
        <dsp:cNvPr id="0" name=""/>
        <dsp:cNvSpPr/>
      </dsp:nvSpPr>
      <dsp:spPr>
        <a:xfrm>
          <a:off x="0" y="1915432"/>
          <a:ext cx="6900512" cy="10048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Integrate SonarQube for continuous code quality inspection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Address issues identified by SonarQube to maintain high code standard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Write comprehensive test cases to ensure functional and non-functional requirement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Regularly execute test suites as part of the CI/CD pipeline.</a:t>
          </a:r>
          <a:endParaRPr lang="en-US" sz="1100" kern="1200"/>
        </a:p>
      </dsp:txBody>
      <dsp:txXfrm>
        <a:off x="0" y="1915432"/>
        <a:ext cx="6900512" cy="1004850"/>
      </dsp:txXfrm>
    </dsp:sp>
    <dsp:sp modelId="{365D4683-ACDC-4D50-B879-4EA90E00CEA7}">
      <dsp:nvSpPr>
        <dsp:cNvPr id="0" name=""/>
        <dsp:cNvSpPr/>
      </dsp:nvSpPr>
      <dsp:spPr>
        <a:xfrm>
          <a:off x="345025" y="1753072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Code Quality and Testing:</a:t>
          </a:r>
          <a:endParaRPr lang="en-US" sz="1100" kern="1200"/>
        </a:p>
      </dsp:txBody>
      <dsp:txXfrm>
        <a:off x="360877" y="1768924"/>
        <a:ext cx="4798654" cy="293016"/>
      </dsp:txXfrm>
    </dsp:sp>
    <dsp:sp modelId="{C543DA88-3F11-4999-A8F7-9CB5CCA63A17}">
      <dsp:nvSpPr>
        <dsp:cNvPr id="0" name=""/>
        <dsp:cNvSpPr/>
      </dsp:nvSpPr>
      <dsp:spPr>
        <a:xfrm>
          <a:off x="0" y="3142042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stablish robust error-handling mechanisms for meaningful error message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Log errors systematically for analysis and debugging insights.</a:t>
          </a:r>
          <a:endParaRPr lang="en-US" sz="1100" kern="1200"/>
        </a:p>
      </dsp:txBody>
      <dsp:txXfrm>
        <a:off x="0" y="3142042"/>
        <a:ext cx="6900512" cy="641024"/>
      </dsp:txXfrm>
    </dsp:sp>
    <dsp:sp modelId="{CCE4285D-39BA-4B43-8EB8-E7EC56D5CFC6}">
      <dsp:nvSpPr>
        <dsp:cNvPr id="0" name=""/>
        <dsp:cNvSpPr/>
      </dsp:nvSpPr>
      <dsp:spPr>
        <a:xfrm>
          <a:off x="345025" y="2979683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Error Handling:</a:t>
          </a:r>
          <a:endParaRPr lang="en-US" sz="1100" kern="1200"/>
        </a:p>
      </dsp:txBody>
      <dsp:txXfrm>
        <a:off x="360877" y="2995535"/>
        <a:ext cx="4798654" cy="293016"/>
      </dsp:txXfrm>
    </dsp:sp>
    <dsp:sp modelId="{160F8F80-928B-4B0A-81BD-B6A659C52FEE}">
      <dsp:nvSpPr>
        <dsp:cNvPr id="0" name=""/>
        <dsp:cNvSpPr/>
      </dsp:nvSpPr>
      <dsp:spPr>
        <a:xfrm>
          <a:off x="0" y="4004827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Foster a collaborative environment with open communication channel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Utilize collaboration tools and conduct regular meetings to keep the team aligned.</a:t>
          </a:r>
          <a:endParaRPr lang="en-US" sz="1100" kern="1200"/>
        </a:p>
      </dsp:txBody>
      <dsp:txXfrm>
        <a:off x="0" y="4004827"/>
        <a:ext cx="6900512" cy="641024"/>
      </dsp:txXfrm>
    </dsp:sp>
    <dsp:sp modelId="{127F2994-A42D-44AB-82EB-32EDA057F4B5}">
      <dsp:nvSpPr>
        <dsp:cNvPr id="0" name=""/>
        <dsp:cNvSpPr/>
      </dsp:nvSpPr>
      <dsp:spPr>
        <a:xfrm>
          <a:off x="345025" y="3842467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Collaboration and Communication:</a:t>
          </a:r>
          <a:endParaRPr lang="en-US" sz="1100" kern="1200"/>
        </a:p>
      </dsp:txBody>
      <dsp:txXfrm>
        <a:off x="360877" y="3858319"/>
        <a:ext cx="4798654" cy="293016"/>
      </dsp:txXfrm>
    </dsp:sp>
    <dsp:sp modelId="{8FA665D9-A945-498B-A068-64F88C30ADF7}">
      <dsp:nvSpPr>
        <dsp:cNvPr id="0" name=""/>
        <dsp:cNvSpPr/>
      </dsp:nvSpPr>
      <dsp:spPr>
        <a:xfrm>
          <a:off x="0" y="4867613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Leverage Kubernetes for container orchestration and scalable deployment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nhance application resilience, scalability, and maintainability.</a:t>
          </a:r>
          <a:endParaRPr lang="en-US" sz="1100" kern="1200"/>
        </a:p>
      </dsp:txBody>
      <dsp:txXfrm>
        <a:off x="0" y="4867613"/>
        <a:ext cx="6900512" cy="641024"/>
      </dsp:txXfrm>
    </dsp:sp>
    <dsp:sp modelId="{9D591A3D-5D35-4F00-BA86-1A0A51AE1DC8}">
      <dsp:nvSpPr>
        <dsp:cNvPr id="0" name=""/>
        <dsp:cNvSpPr/>
      </dsp:nvSpPr>
      <dsp:spPr>
        <a:xfrm>
          <a:off x="345025" y="4705252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Kubernetes Implementation:</a:t>
          </a:r>
          <a:endParaRPr lang="en-US" sz="1100" kern="1200"/>
        </a:p>
      </dsp:txBody>
      <dsp:txXfrm>
        <a:off x="360877" y="4721104"/>
        <a:ext cx="4798654" cy="29301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88B45E-A114-4AE1-8BFA-460BEF3A89F0}">
      <dsp:nvSpPr>
        <dsp:cNvPr id="0" name=""/>
        <dsp:cNvSpPr/>
      </dsp:nvSpPr>
      <dsp:spPr>
        <a:xfrm>
          <a:off x="0" y="231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0FA14B-AD6B-4DB5-81B4-9D6722DBE29F}">
      <dsp:nvSpPr>
        <dsp:cNvPr id="0" name=""/>
        <dsp:cNvSpPr/>
      </dsp:nvSpPr>
      <dsp:spPr>
        <a:xfrm>
          <a:off x="355657" y="266858"/>
          <a:ext cx="646650" cy="64665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1E4EDB-CD9B-458F-A70F-0ECBDEC6F0C6}">
      <dsp:nvSpPr>
        <dsp:cNvPr id="0" name=""/>
        <dsp:cNvSpPr/>
      </dsp:nvSpPr>
      <dsp:spPr>
        <a:xfrm>
          <a:off x="1357965" y="231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Encountered challenges integrating frontend and backend code.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Learned about Cross-Origin Resource Sharing (CORS) to enable backend code access.</a:t>
          </a:r>
          <a:endParaRPr lang="en-US" sz="1400" kern="1200"/>
        </a:p>
      </dsp:txBody>
      <dsp:txXfrm>
        <a:off x="1357965" y="2319"/>
        <a:ext cx="4887299" cy="1175727"/>
      </dsp:txXfrm>
    </dsp:sp>
    <dsp:sp modelId="{FE0BAF1A-416C-481A-9B82-FC512289713B}">
      <dsp:nvSpPr>
        <dsp:cNvPr id="0" name=""/>
        <dsp:cNvSpPr/>
      </dsp:nvSpPr>
      <dsp:spPr>
        <a:xfrm>
          <a:off x="0" y="147197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04C2C-1445-499A-9C5F-4FBA6722CF00}">
      <dsp:nvSpPr>
        <dsp:cNvPr id="0" name=""/>
        <dsp:cNvSpPr/>
      </dsp:nvSpPr>
      <dsp:spPr>
        <a:xfrm>
          <a:off x="355657" y="1736518"/>
          <a:ext cx="646650" cy="64665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986CAD-7194-40DC-A63E-F97E9F571876}">
      <dsp:nvSpPr>
        <dsp:cNvPr id="0" name=""/>
        <dsp:cNvSpPr/>
      </dsp:nvSpPr>
      <dsp:spPr>
        <a:xfrm>
          <a:off x="1357965" y="147197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Delved into Nginx and Kubernetes for efficient microservice deployment.</a:t>
          </a:r>
          <a:br>
            <a:rPr lang="en-US" sz="1400" b="0" i="0" kern="1200"/>
          </a:br>
          <a:r>
            <a:rPr lang="en-US" sz="1400" b="0" i="0" kern="1200"/>
            <a:t>Gained insights into developing a comprehensive application through microservice integration.</a:t>
          </a:r>
          <a:endParaRPr lang="en-US" sz="1400" kern="1200"/>
        </a:p>
      </dsp:txBody>
      <dsp:txXfrm>
        <a:off x="1357965" y="1471979"/>
        <a:ext cx="4887299" cy="1175727"/>
      </dsp:txXfrm>
    </dsp:sp>
    <dsp:sp modelId="{032C4EFF-057C-48FF-A5BE-1EF9F4ED2E89}">
      <dsp:nvSpPr>
        <dsp:cNvPr id="0" name=""/>
        <dsp:cNvSpPr/>
      </dsp:nvSpPr>
      <dsp:spPr>
        <a:xfrm>
          <a:off x="0" y="294163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43B661-6EC0-4C42-A25F-9E3C3006474C}">
      <dsp:nvSpPr>
        <dsp:cNvPr id="0" name=""/>
        <dsp:cNvSpPr/>
      </dsp:nvSpPr>
      <dsp:spPr>
        <a:xfrm>
          <a:off x="355657" y="3206178"/>
          <a:ext cx="646650" cy="64665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BBFDCC-DA84-4E92-8863-0EA088CF470E}">
      <dsp:nvSpPr>
        <dsp:cNvPr id="0" name=""/>
        <dsp:cNvSpPr/>
      </dsp:nvSpPr>
      <dsp:spPr>
        <a:xfrm>
          <a:off x="1357965" y="294163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Dealt with server port contract complexities while interacting with other microservices.</a:t>
          </a:r>
          <a:br>
            <a:rPr lang="en-US" sz="1400" b="0" i="0" kern="1200"/>
          </a:br>
          <a:r>
            <a:rPr lang="en-US" sz="1400" b="0" i="0" kern="1200"/>
            <a:t>Learned about CICD pipeline Integration.</a:t>
          </a:r>
        </a:p>
      </dsp:txBody>
      <dsp:txXfrm>
        <a:off x="1357965" y="2941639"/>
        <a:ext cx="4887299" cy="1175727"/>
      </dsp:txXfrm>
    </dsp:sp>
    <dsp:sp modelId="{A9CBE7DD-D4CA-4ECA-BCDF-BEC2481AED45}">
      <dsp:nvSpPr>
        <dsp:cNvPr id="0" name=""/>
        <dsp:cNvSpPr/>
      </dsp:nvSpPr>
      <dsp:spPr>
        <a:xfrm>
          <a:off x="0" y="441129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366E13-0D96-4C29-BD20-0935064E0828}">
      <dsp:nvSpPr>
        <dsp:cNvPr id="0" name=""/>
        <dsp:cNvSpPr/>
      </dsp:nvSpPr>
      <dsp:spPr>
        <a:xfrm>
          <a:off x="355657" y="4675838"/>
          <a:ext cx="646650" cy="64665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4F6D2C-02EA-448C-AA72-1806B6ABECB3}">
      <dsp:nvSpPr>
        <dsp:cNvPr id="0" name=""/>
        <dsp:cNvSpPr/>
      </dsp:nvSpPr>
      <dsp:spPr>
        <a:xfrm>
          <a:off x="1357965" y="441129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Faced challenges in maintaining API request and response contracts.</a:t>
          </a:r>
          <a:br>
            <a:rPr lang="en-US" sz="1400" b="0" i="0" kern="1200"/>
          </a:br>
          <a:r>
            <a:rPr lang="en-US" sz="1400" b="0" i="0" kern="1200"/>
            <a:t>Acquired skills to deploy the application in a cloud environment.</a:t>
          </a:r>
        </a:p>
      </dsp:txBody>
      <dsp:txXfrm>
        <a:off x="1357965" y="4411299"/>
        <a:ext cx="4887299" cy="117572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A110CD-288C-475E-8638-AAFB852002B1}">
      <dsp:nvSpPr>
        <dsp:cNvPr id="0" name=""/>
        <dsp:cNvSpPr/>
      </dsp:nvSpPr>
      <dsp:spPr>
        <a:xfrm rot="10800000">
          <a:off x="1680859" y="0"/>
          <a:ext cx="5405120" cy="1277679"/>
        </a:xfrm>
        <a:prstGeom prst="homePlate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421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i="0" kern="1200"/>
            <a:t>Microservices Deployment:</a:t>
          </a:r>
          <a:endParaRPr lang="en-US" sz="1400" b="0" i="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Deployed microservices in Kubernetes on Google Cloud Platform (GCP)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Leveraged Nginx as the cloud gateway for enhanced scalability and security.</a:t>
          </a:r>
          <a:endParaRPr lang="en-US" sz="1400" kern="1200"/>
        </a:p>
      </dsp:txBody>
      <dsp:txXfrm rot="10800000">
        <a:off x="2000279" y="0"/>
        <a:ext cx="5085700" cy="1277679"/>
      </dsp:txXfrm>
    </dsp:sp>
    <dsp:sp modelId="{6A0A45F0-C465-4782-A218-2CAE5BAE505E}">
      <dsp:nvSpPr>
        <dsp:cNvPr id="0" name=""/>
        <dsp:cNvSpPr/>
      </dsp:nvSpPr>
      <dsp:spPr>
        <a:xfrm>
          <a:off x="1042020" y="2322"/>
          <a:ext cx="1277679" cy="1277679"/>
        </a:xfrm>
        <a:prstGeom prst="flowChartProcess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4A57A5-595B-4623-AE8F-241B79B3D1D4}">
      <dsp:nvSpPr>
        <dsp:cNvPr id="0" name=""/>
        <dsp:cNvSpPr/>
      </dsp:nvSpPr>
      <dsp:spPr>
        <a:xfrm rot="10800000">
          <a:off x="1678823" y="1661399"/>
          <a:ext cx="5425010" cy="1277679"/>
        </a:xfrm>
        <a:prstGeom prst="homePlate">
          <a:avLst/>
        </a:prstGeom>
        <a:solidFill>
          <a:schemeClr val="tx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421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i="0" kern="1200"/>
            <a:t>Efficient CICD Pipeline:</a:t>
          </a:r>
          <a:endParaRPr lang="en-US" sz="1400" b="0" i="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Established a Continuous Integration and Continuous Deployment (CICD) pipeline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Aims to reduce development time and ensure error-free deployments.</a:t>
          </a:r>
          <a:endParaRPr lang="en-US" sz="1400" kern="1200"/>
        </a:p>
      </dsp:txBody>
      <dsp:txXfrm rot="10800000">
        <a:off x="1998243" y="1661399"/>
        <a:ext cx="5105590" cy="1277679"/>
      </dsp:txXfrm>
    </dsp:sp>
    <dsp:sp modelId="{B11C4C84-271D-4FF6-AF00-7772BF25981B}">
      <dsp:nvSpPr>
        <dsp:cNvPr id="0" name=""/>
        <dsp:cNvSpPr/>
      </dsp:nvSpPr>
      <dsp:spPr>
        <a:xfrm>
          <a:off x="1024165" y="1661399"/>
          <a:ext cx="1329208" cy="1277679"/>
        </a:xfrm>
        <a:prstGeom prst="flowChartProcess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7B2A6A-9800-4141-A697-7784B05525CD}">
      <dsp:nvSpPr>
        <dsp:cNvPr id="0" name=""/>
        <dsp:cNvSpPr/>
      </dsp:nvSpPr>
      <dsp:spPr>
        <a:xfrm rot="10800000">
          <a:off x="1731970" y="3320475"/>
          <a:ext cx="5405120" cy="1277679"/>
        </a:xfrm>
        <a:prstGeom prst="homePlate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421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i="0" kern="1200"/>
            <a:t>Code Quality Assurance:</a:t>
          </a:r>
          <a:endParaRPr lang="en-US" sz="1400" b="0" i="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Integrated with SonarQube for comprehensive code analysis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Implemented a Quality Gate to ensure only high-quality code is deployed.</a:t>
          </a:r>
          <a:endParaRPr lang="en-US" sz="1400" kern="1200"/>
        </a:p>
      </dsp:txBody>
      <dsp:txXfrm rot="10800000">
        <a:off x="2051390" y="3320475"/>
        <a:ext cx="5085700" cy="1277679"/>
      </dsp:txXfrm>
    </dsp:sp>
    <dsp:sp modelId="{EE9EF83F-344F-4043-998B-42C10A77D0B5}">
      <dsp:nvSpPr>
        <dsp:cNvPr id="0" name=""/>
        <dsp:cNvSpPr/>
      </dsp:nvSpPr>
      <dsp:spPr>
        <a:xfrm>
          <a:off x="990909" y="3320475"/>
          <a:ext cx="1482121" cy="1277679"/>
        </a:xfrm>
        <a:prstGeom prst="flowChartProcess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12/1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5/12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9291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84319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5054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9175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6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84211-7781-8F6B-FC49-33819FD8F6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F783A9-8970-79C8-656F-97CA8CFD2F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EF9DF3-E0AB-CA53-7A05-8C1B7865A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5-12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0F2CBF-8A05-31BC-4C22-938FD63D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9510EE-5ACF-3E84-92E2-51D0B7E43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6561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7CCFFA-67FC-3225-14EC-B4B7C6C1E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5F1EBD-8D3F-656F-EF48-C34F538E6A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2A9C0F-FAE7-122F-3685-11E64064A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12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760516-9996-80A2-0930-7BC1372D1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F7DF51-7901-B33F-15CC-39799B783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5086795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038E532-3BC9-841C-F93D-AF7A885E3A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085083-D308-BC32-C00D-BA18D9CE7F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720D6F-BA36-8C51-950E-E3EC7B5CC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27A945-C370-F1CE-D9B5-05F8246C1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64D46C-D74E-0D58-B18B-962737AC9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7153541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96861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97445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6036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0384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632E9-557D-0C39-F4EF-12DE3E027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D08804-B9D3-9B1D-9F7E-B88BD4166A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2CAB93-D4D9-7645-8CD1-16556473F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5-12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BBCB22-661F-DC00-DB86-7D525C1328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FBC543-68A3-EF49-9A79-AB395DE05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B8EBAC8-0A2D-1C61-C4A8-0E2BC88E32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359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0ACB3-5D9F-FDAE-108A-58685D759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BE3DF8-F319-59E5-738F-AC9BC0CB6A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15F2B3-9288-2520-3543-C009C6868D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E71E5-DED4-7494-627F-87E4E53C0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E66E95-6D06-6C08-2935-810530395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899162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D64BB-41C2-B2B1-05D2-1D986A13A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8D1965-AFD6-2B05-B9E9-CF40C8740B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23276D-2D67-E9A5-32CE-4F8C5CF239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AC8E17-06C7-7B74-0CF1-DCA0198B8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t>12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6074E8-013E-C91D-5356-D12474965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D6B5D7-DCDE-CDCB-DFF1-25AF7CB38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8827477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EFB71B-4BC7-B5C3-E4F4-E8FF82C76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FFBF6A-8FF8-DF3F-C6CE-67A8A52739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E7384F-D4CC-D200-E827-4CD9CA21B0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FADB8E-582D-F7A1-B223-8D321E8800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1F102C-11B3-4B68-1785-808950CCCE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126A046-38AA-D129-3D09-08FAC494F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8A75D58-9F38-3F44-FF84-13A96728F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89C0E01-3856-A48E-0440-8398658C3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454755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3D712-B430-B1A8-7E62-AAADBB3FB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F9F4A3-F532-E52D-7AB3-DAE80A84CF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98ADA7-75AA-031E-71A0-948A229C7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4783D8-5C56-C5AB-C204-BCA0C570C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977857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8D0D29-C3D3-A4F5-F08F-979E364BA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F0A0CC-B54B-4EE0-27DA-4D2BF0935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CF538C-9BE6-3F3B-6AFA-20129E86A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6F1B9CE-7DC2-2B42-3413-7CF154AC409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34E3428A-EFA7-DDAF-CF23-633E8146E7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738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BA2CB-AB60-658A-D753-DC54D73222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980A81-0F9A-2286-2F6E-3274B322AB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6020C9-1140-49DB-F4E4-0C7972E813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731A33-A0D2-AAF3-44FE-A856E5982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12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2C59FD-147E-3A0A-5AD9-E6E43DFC86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C31B78-ABA2-5A11-EE9A-9AB8F2736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8642495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2067FC-0DD0-2B79-FF08-646C142BF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CA304DB-56F1-6A5F-F6AE-D9B8697503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0B85C0-F433-9CA9-A49A-F098BD66CF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8BF5B5-C856-ACEE-7A87-951A76CB3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B09B2C-A1A1-8A1B-4682-F474C60B6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773995-6B0D-8642-4EA5-BBB998CA0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95167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890C17E-3FEB-F90C-0EBE-5697DF99C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37B2DF-1056-1600-577D-184BB4E31B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C55FCA-6626-C97D-8325-2DF1139E0E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F92848-2A69-0F38-EE46-0AFFA61ED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E89667-8003-D13A-FFC0-678FB7C2B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92C1B2-F7AD-1114-E38E-C9DC2DCF9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92C1B2-F7AD-1114-E38E-C9DC2DCF9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57803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659" r:id="rId16"/>
    <p:sldLayoutId id="2147483652" r:id="rId17"/>
    <p:sldLayoutId id="2147483655" r:id="rId18"/>
    <p:sldLayoutId id="2147483650" r:id="rId19"/>
    <p:sldLayoutId id="2147483658" r:id="rId20"/>
    <p:sldLayoutId id="2147483653" r:id="rId21"/>
    <p:sldLayoutId id="2147483654" r:id="rId22"/>
    <p:sldLayoutId id="214748365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5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hyperlink" Target="https://hub.docker.com/r/danicoolbug/cusreviewhub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8.png"/><Relationship Id="rId4" Type="http://schemas.openxmlformats.org/officeDocument/2006/relationships/image" Target="../media/image117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4.png"/><Relationship Id="rId13" Type="http://schemas.openxmlformats.org/officeDocument/2006/relationships/image" Target="../media/image139.png"/><Relationship Id="rId3" Type="http://schemas.openxmlformats.org/officeDocument/2006/relationships/image" Target="../media/image129.png"/><Relationship Id="rId7" Type="http://schemas.openxmlformats.org/officeDocument/2006/relationships/image" Target="../media/image133.png"/><Relationship Id="rId12" Type="http://schemas.openxmlformats.org/officeDocument/2006/relationships/image" Target="../media/image138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2.svg"/><Relationship Id="rId11" Type="http://schemas.openxmlformats.org/officeDocument/2006/relationships/image" Target="../media/image137.png"/><Relationship Id="rId5" Type="http://schemas.openxmlformats.org/officeDocument/2006/relationships/image" Target="../media/image131.png"/><Relationship Id="rId10" Type="http://schemas.openxmlformats.org/officeDocument/2006/relationships/image" Target="../media/image136.png"/><Relationship Id="rId4" Type="http://schemas.openxmlformats.org/officeDocument/2006/relationships/image" Target="../media/image130.png"/><Relationship Id="rId9" Type="http://schemas.openxmlformats.org/officeDocument/2006/relationships/image" Target="../media/image135.jpeg"/><Relationship Id="rId14" Type="http://schemas.openxmlformats.org/officeDocument/2006/relationships/image" Target="../media/image1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46.wmf"/><Relationship Id="rId3" Type="http://schemas.openxmlformats.org/officeDocument/2006/relationships/hyperlink" Target="https://github.com/walmart-2023-sep-ascend/Team08-OrderHistoryTracker" TargetMode="External"/><Relationship Id="rId7" Type="http://schemas.openxmlformats.org/officeDocument/2006/relationships/hyperlink" Target="http://34.125.137.138:9000/projects" TargetMode="External"/><Relationship Id="rId12" Type="http://schemas.openxmlformats.org/officeDocument/2006/relationships/package" Target="../embeddings/Microsoft_Word_Document.docx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34.125.137.138:8000/" TargetMode="External"/><Relationship Id="rId11" Type="http://schemas.openxmlformats.org/officeDocument/2006/relationships/image" Target="../media/image145.wmf"/><Relationship Id="rId5" Type="http://schemas.openxmlformats.org/officeDocument/2006/relationships/hyperlink" Target="https://github.com/walmart-2023-sep-ascend/Team08-OrderSupport-Return/tree/OrderReturn-Updated" TargetMode="External"/><Relationship Id="rId10" Type="http://schemas.openxmlformats.org/officeDocument/2006/relationships/oleObject" Target="../embeddings/oleObject3.bin"/><Relationship Id="rId4" Type="http://schemas.openxmlformats.org/officeDocument/2006/relationships/hyperlink" Target="https://github.com/walmart-2023-sep-ascend/Team08-OrderNotification" TargetMode="External"/><Relationship Id="rId9" Type="http://schemas.openxmlformats.org/officeDocument/2006/relationships/image" Target="../media/image144.wmf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hyperlink" Target="https://github.com/walmart-2023-sep-ascend/Team09_BackendCode" TargetMode="External"/><Relationship Id="rId7" Type="http://schemas.openxmlformats.org/officeDocument/2006/relationships/hyperlink" Target="https://api.postman.com/collections/18250293-9323a41c-f6cd-45d2-a4f0-9d4bd099fd66?access_key=PMAT-01HH1EY8FSFQHA3TDFJFW4J23B" TargetMode="Externa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customerrating.eastus.cloudapp.azure.com:9801/api/approval/10/comment" TargetMode="External"/><Relationship Id="rId5" Type="http://schemas.openxmlformats.org/officeDocument/2006/relationships/hyperlink" Target="https://github.com/walmart-2023-sep-ascend/Team09_BackendCode/actions/workflows/maven.yml" TargetMode="External"/><Relationship Id="rId4" Type="http://schemas.openxmlformats.org/officeDocument/2006/relationships/hyperlink" Target="https://hub.docker.com/repository/docker/danicoolbug/cusreviewhub/general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localhost:8989/api/product/5/by-ratings/10123" TargetMode="External"/><Relationship Id="rId3" Type="http://schemas.openxmlformats.org/officeDocument/2006/relationships/hyperlink" Target="http://localhost:9801/api/approval/" TargetMode="External"/><Relationship Id="rId7" Type="http://schemas.openxmlformats.org/officeDocument/2006/relationships/hyperlink" Target="http://customerrating.eastus.cloudapp.azure.com:9801/api/product/560/by-ratings/3" TargetMode="External"/><Relationship Id="rId2" Type="http://schemas.openxmlformats.org/officeDocument/2006/relationships/hyperlink" Target="http://customerrating.eastus.cloudapp.azure.com:9801/api/approval/10/comment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customerrating.eastus.cloudapp.azure.com:9801/api/product/25/by-ratings/3" TargetMode="External"/><Relationship Id="rId5" Type="http://schemas.openxmlformats.org/officeDocument/2006/relationships/hyperlink" Target="http://customerrating.eastus.cloudapp.azure.com:9801/api/approval/delete/34/Muthu" TargetMode="External"/><Relationship Id="rId4" Type="http://schemas.openxmlformats.org/officeDocument/2006/relationships/hyperlink" Target="http://customerrating.eastus.cloudapp.azure.com:9801/api/product/17/comment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>
            <a:normAutofit/>
          </a:bodyPr>
          <a:lstStyle/>
          <a:p>
            <a:r>
              <a:rPr lang="en-US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334" y="2561078"/>
            <a:ext cx="10525125" cy="1356269"/>
          </a:xfrm>
        </p:spPr>
        <p:txBody>
          <a:bodyPr anchor="b">
            <a:spAutoFit/>
          </a:bodyPr>
          <a:lstStyle/>
          <a:p>
            <a:r>
              <a:rPr lang="en-US" sz="3200" dirty="0"/>
              <a:t>PGP In Project Engineering</a:t>
            </a:r>
            <a:br>
              <a:rPr lang="en-US" sz="3200" dirty="0"/>
            </a:br>
            <a:r>
              <a:rPr lang="en-US" sz="3200" dirty="0"/>
              <a:t>Capstone Project</a:t>
            </a:r>
          </a:p>
          <a:p>
            <a:pPr algn="l"/>
            <a:endParaRPr lang="en-US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671842" y="4646264"/>
            <a:ext cx="5022574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 b="1" dirty="0">
                <a:solidFill>
                  <a:schemeClr val="bg1"/>
                </a:solidFill>
              </a:rPr>
              <a:t>Team 8</a:t>
            </a:r>
          </a:p>
          <a:p>
            <a:endParaRPr lang="en-IN" b="1" dirty="0">
              <a:solidFill>
                <a:schemeClr val="bg1"/>
              </a:solidFill>
            </a:endParaRPr>
          </a:p>
          <a:p>
            <a:r>
              <a:rPr lang="en-IN" b="1">
                <a:solidFill>
                  <a:schemeClr val="bg1"/>
                </a:solidFill>
              </a:rPr>
              <a:t>14-Dec-2023</a:t>
            </a:r>
            <a:endParaRPr lang="en-IN" b="1">
              <a:solidFill>
                <a:schemeClr val="bg1"/>
              </a:solidFill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E9BE476-4E72-25F2-C6F4-5EDE100DBBAE}"/>
              </a:ext>
            </a:extLst>
          </p:cNvPr>
          <p:cNvGrpSpPr/>
          <p:nvPr/>
        </p:nvGrpSpPr>
        <p:grpSpPr>
          <a:xfrm>
            <a:off x="6096000" y="705079"/>
            <a:ext cx="5864661" cy="714125"/>
            <a:chOff x="6202495" y="826265"/>
            <a:chExt cx="5864661" cy="71412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57E4052-6DA1-D515-8D8A-1312F8C28638}"/>
                </a:ext>
              </a:extLst>
            </p:cNvPr>
            <p:cNvSpPr/>
            <p:nvPr/>
          </p:nvSpPr>
          <p:spPr>
            <a:xfrm>
              <a:off x="6202495" y="826265"/>
              <a:ext cx="5864661" cy="71412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82B8CC9-895E-6761-4A3A-B66A225CD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68138" y="838659"/>
              <a:ext cx="5715000" cy="685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AEF801-2BB5-98C8-988F-5EC3DD308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>
                <a:solidFill>
                  <a:schemeClr val="bg1"/>
                </a:solidFill>
                <a:latin typeface="+mj-lt"/>
                <a:cs typeface="+mj-cs"/>
              </a:rPr>
              <a:t>Use Case Diagram</a:t>
            </a:r>
            <a:endParaRPr lang="en-US" sz="3200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C2E30A-1876-D18F-19B9-27A5067250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0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6" name="Picture 5" descr="A diagram of a system&#10;&#10;Description automatically generated">
            <a:extLst>
              <a:ext uri="{FF2B5EF4-FFF2-40B4-BE49-F238E27FC236}">
                <a16:creationId xmlns:a16="http://schemas.microsoft.com/office/drawing/2014/main" id="{569AADE1-AF99-05A5-4AF7-BBF6DAED7B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2357" y="1676400"/>
            <a:ext cx="6968314" cy="4479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2884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AEF801-2BB5-98C8-988F-5EC3DD308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equence Diagram</a:t>
            </a:r>
          </a:p>
        </p:txBody>
      </p:sp>
      <p:pic>
        <p:nvPicPr>
          <p:cNvPr id="5" name="Picture 4" descr="A diagram of a process&#10;&#10;Description automatically generated">
            <a:extLst>
              <a:ext uri="{FF2B5EF4-FFF2-40B4-BE49-F238E27FC236}">
                <a16:creationId xmlns:a16="http://schemas.microsoft.com/office/drawing/2014/main" id="{5E2F5E34-09D5-846F-0C7D-B41F6DE0C9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9364" y="1675227"/>
            <a:ext cx="7293272" cy="439419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C2E30A-1876-D18F-19B9-27A5067250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1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7211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1371597" y="348865"/>
            <a:ext cx="10044023" cy="877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FE UI Flow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2174940" y="6305384"/>
            <a:ext cx="7866061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diagram of a application&#10;&#10;Description automatically generated">
            <a:extLst>
              <a:ext uri="{FF2B5EF4-FFF2-40B4-BE49-F238E27FC236}">
                <a16:creationId xmlns:a16="http://schemas.microsoft.com/office/drawing/2014/main" id="{22000479-EB53-B308-E323-221DF1C140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9700" y="1857375"/>
            <a:ext cx="9391650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629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986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 UI Screen Snippet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0345FBA3-9271-C188-7E6F-81B2EEC006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015273"/>
            <a:ext cx="4234544" cy="2318298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C16AF128-F0C2-E952-D5D7-F1490A27F9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8314" y="1017941"/>
            <a:ext cx="4386944" cy="2307520"/>
          </a:xfrm>
          <a:prstGeom prst="rect">
            <a:avLst/>
          </a:prstGeom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1F63CECD-1A71-C2C1-3193-E554F86FE0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457" y="3491773"/>
            <a:ext cx="4278087" cy="2487028"/>
          </a:xfrm>
          <a:prstGeom prst="rect">
            <a:avLst/>
          </a:prstGeom>
        </p:spPr>
      </p:pic>
      <p:pic>
        <p:nvPicPr>
          <p:cNvPr id="11" name="Picture 10" descr="A screen shot of a computer&#10;&#10;Description automatically generated">
            <a:extLst>
              <a:ext uri="{FF2B5EF4-FFF2-40B4-BE49-F238E27FC236}">
                <a16:creationId xmlns:a16="http://schemas.microsoft.com/office/drawing/2014/main" id="{D60DA41B-DCFC-A3C7-FCD5-753B743FB4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8314" y="3491773"/>
            <a:ext cx="4386943" cy="2530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8052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D7E74A-213D-DA95-9C67-26D5DA02C0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900" y="1674813"/>
            <a:ext cx="4768850" cy="439261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4337A1B-5A35-A077-980B-8CA0353E6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6600" y="1674813"/>
            <a:ext cx="5395913" cy="135096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325E10F-7938-4B82-8A24-79F31DD80C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6600" y="3095625"/>
            <a:ext cx="5395913" cy="2971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ADC7489-0726-1BC9-2B78-EE1336B25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rder History API Integration with  Front End and Swagger </a:t>
            </a:r>
          </a:p>
        </p:txBody>
      </p:sp>
    </p:spTree>
    <p:extLst>
      <p:ext uri="{BB962C8B-B14F-4D97-AF65-F5344CB8AC3E}">
        <p14:creationId xmlns:p14="http://schemas.microsoft.com/office/powerpoint/2010/main" val="40374756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BCED4D40-4B67-4331-AC48-79B82B4A4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197E68-6995-E562-F70B-D9DE4100C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17576"/>
            <a:ext cx="10909640" cy="124939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6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Order History Solution Design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1A6A7B0-803E-50C3-436D-400FFA3A59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81" y="1809541"/>
            <a:ext cx="10909643" cy="68740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34" name="sketch line">
            <a:extLst>
              <a:ext uri="{FF2B5EF4-FFF2-40B4-BE49-F238E27FC236}">
                <a16:creationId xmlns:a16="http://schemas.microsoft.com/office/drawing/2014/main" id="{670CEDEF-4F34-412E-84EE-329C1E936A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07702" y="1733454"/>
            <a:ext cx="4572000" cy="18288"/>
          </a:xfrm>
          <a:custGeom>
            <a:avLst/>
            <a:gdLst>
              <a:gd name="connsiteX0" fmla="*/ 0 w 4572000"/>
              <a:gd name="connsiteY0" fmla="*/ 0 h 18288"/>
              <a:gd name="connsiteX1" fmla="*/ 515983 w 4572000"/>
              <a:gd name="connsiteY1" fmla="*/ 0 h 18288"/>
              <a:gd name="connsiteX2" fmla="*/ 1031966 w 4572000"/>
              <a:gd name="connsiteY2" fmla="*/ 0 h 18288"/>
              <a:gd name="connsiteX3" fmla="*/ 1639389 w 4572000"/>
              <a:gd name="connsiteY3" fmla="*/ 0 h 18288"/>
              <a:gd name="connsiteX4" fmla="*/ 2383971 w 4572000"/>
              <a:gd name="connsiteY4" fmla="*/ 0 h 18288"/>
              <a:gd name="connsiteX5" fmla="*/ 2945674 w 4572000"/>
              <a:gd name="connsiteY5" fmla="*/ 0 h 18288"/>
              <a:gd name="connsiteX6" fmla="*/ 3507377 w 4572000"/>
              <a:gd name="connsiteY6" fmla="*/ 0 h 18288"/>
              <a:gd name="connsiteX7" fmla="*/ 4572000 w 4572000"/>
              <a:gd name="connsiteY7" fmla="*/ 0 h 18288"/>
              <a:gd name="connsiteX8" fmla="*/ 4572000 w 4572000"/>
              <a:gd name="connsiteY8" fmla="*/ 18288 h 18288"/>
              <a:gd name="connsiteX9" fmla="*/ 3873137 w 4572000"/>
              <a:gd name="connsiteY9" fmla="*/ 18288 h 18288"/>
              <a:gd name="connsiteX10" fmla="*/ 3311434 w 4572000"/>
              <a:gd name="connsiteY10" fmla="*/ 18288 h 18288"/>
              <a:gd name="connsiteX11" fmla="*/ 2749731 w 4572000"/>
              <a:gd name="connsiteY11" fmla="*/ 18288 h 18288"/>
              <a:gd name="connsiteX12" fmla="*/ 2050869 w 4572000"/>
              <a:gd name="connsiteY12" fmla="*/ 18288 h 18288"/>
              <a:gd name="connsiteX13" fmla="*/ 1306286 w 4572000"/>
              <a:gd name="connsiteY13" fmla="*/ 18288 h 18288"/>
              <a:gd name="connsiteX14" fmla="*/ 790303 w 4572000"/>
              <a:gd name="connsiteY14" fmla="*/ 18288 h 18288"/>
              <a:gd name="connsiteX15" fmla="*/ 0 w 4572000"/>
              <a:gd name="connsiteY15" fmla="*/ 18288 h 18288"/>
              <a:gd name="connsiteX16" fmla="*/ 0 w 4572000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572000" h="18288" fill="none" extrusionOk="0">
                <a:moveTo>
                  <a:pt x="0" y="0"/>
                </a:moveTo>
                <a:cubicBezTo>
                  <a:pt x="105156" y="-20963"/>
                  <a:pt x="340432" y="822"/>
                  <a:pt x="515983" y="0"/>
                </a:cubicBezTo>
                <a:cubicBezTo>
                  <a:pt x="691534" y="-822"/>
                  <a:pt x="850679" y="16479"/>
                  <a:pt x="1031966" y="0"/>
                </a:cubicBezTo>
                <a:cubicBezTo>
                  <a:pt x="1213253" y="-16479"/>
                  <a:pt x="1443646" y="-18730"/>
                  <a:pt x="1639389" y="0"/>
                </a:cubicBezTo>
                <a:cubicBezTo>
                  <a:pt x="1835132" y="18730"/>
                  <a:pt x="2159975" y="18531"/>
                  <a:pt x="2383971" y="0"/>
                </a:cubicBezTo>
                <a:cubicBezTo>
                  <a:pt x="2607967" y="-18531"/>
                  <a:pt x="2719096" y="-12030"/>
                  <a:pt x="2945674" y="0"/>
                </a:cubicBezTo>
                <a:cubicBezTo>
                  <a:pt x="3172252" y="12030"/>
                  <a:pt x="3269167" y="27666"/>
                  <a:pt x="3507377" y="0"/>
                </a:cubicBezTo>
                <a:cubicBezTo>
                  <a:pt x="3745587" y="-27666"/>
                  <a:pt x="4116741" y="18705"/>
                  <a:pt x="4572000" y="0"/>
                </a:cubicBezTo>
                <a:cubicBezTo>
                  <a:pt x="4572895" y="8974"/>
                  <a:pt x="4571454" y="9359"/>
                  <a:pt x="4572000" y="18288"/>
                </a:cubicBezTo>
                <a:cubicBezTo>
                  <a:pt x="4374698" y="3942"/>
                  <a:pt x="4098874" y="-11042"/>
                  <a:pt x="3873137" y="18288"/>
                </a:cubicBezTo>
                <a:cubicBezTo>
                  <a:pt x="3647400" y="47618"/>
                  <a:pt x="3517055" y="5421"/>
                  <a:pt x="3311434" y="18288"/>
                </a:cubicBezTo>
                <a:cubicBezTo>
                  <a:pt x="3105813" y="31155"/>
                  <a:pt x="3025168" y="17856"/>
                  <a:pt x="2749731" y="18288"/>
                </a:cubicBezTo>
                <a:cubicBezTo>
                  <a:pt x="2474294" y="18720"/>
                  <a:pt x="2291766" y="-14168"/>
                  <a:pt x="2050869" y="18288"/>
                </a:cubicBezTo>
                <a:cubicBezTo>
                  <a:pt x="1809972" y="50744"/>
                  <a:pt x="1540276" y="46798"/>
                  <a:pt x="1306286" y="18288"/>
                </a:cubicBezTo>
                <a:cubicBezTo>
                  <a:pt x="1072296" y="-10222"/>
                  <a:pt x="972445" y="19645"/>
                  <a:pt x="790303" y="18288"/>
                </a:cubicBezTo>
                <a:cubicBezTo>
                  <a:pt x="608161" y="16931"/>
                  <a:pt x="200981" y="8241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572000" h="18288" stroke="0" extrusionOk="0">
                <a:moveTo>
                  <a:pt x="0" y="0"/>
                </a:moveTo>
                <a:cubicBezTo>
                  <a:pt x="143285" y="-9565"/>
                  <a:pt x="327959" y="-11498"/>
                  <a:pt x="561703" y="0"/>
                </a:cubicBezTo>
                <a:cubicBezTo>
                  <a:pt x="795447" y="11498"/>
                  <a:pt x="838260" y="18255"/>
                  <a:pt x="1077686" y="0"/>
                </a:cubicBezTo>
                <a:cubicBezTo>
                  <a:pt x="1317112" y="-18255"/>
                  <a:pt x="1437472" y="23514"/>
                  <a:pt x="1639389" y="0"/>
                </a:cubicBezTo>
                <a:cubicBezTo>
                  <a:pt x="1841306" y="-23514"/>
                  <a:pt x="2037142" y="-12551"/>
                  <a:pt x="2292531" y="0"/>
                </a:cubicBezTo>
                <a:cubicBezTo>
                  <a:pt x="2547920" y="12551"/>
                  <a:pt x="2810436" y="-20352"/>
                  <a:pt x="2991394" y="0"/>
                </a:cubicBezTo>
                <a:cubicBezTo>
                  <a:pt x="3172352" y="20352"/>
                  <a:pt x="3530025" y="-13347"/>
                  <a:pt x="3735977" y="0"/>
                </a:cubicBezTo>
                <a:cubicBezTo>
                  <a:pt x="3941929" y="13347"/>
                  <a:pt x="4161497" y="34086"/>
                  <a:pt x="4572000" y="0"/>
                </a:cubicBezTo>
                <a:cubicBezTo>
                  <a:pt x="4571545" y="6162"/>
                  <a:pt x="4571903" y="11775"/>
                  <a:pt x="4572000" y="18288"/>
                </a:cubicBezTo>
                <a:cubicBezTo>
                  <a:pt x="4228040" y="36490"/>
                  <a:pt x="4199736" y="42557"/>
                  <a:pt x="3873137" y="18288"/>
                </a:cubicBezTo>
                <a:cubicBezTo>
                  <a:pt x="3546538" y="-5981"/>
                  <a:pt x="3472124" y="16809"/>
                  <a:pt x="3128554" y="18288"/>
                </a:cubicBezTo>
                <a:cubicBezTo>
                  <a:pt x="2784984" y="19767"/>
                  <a:pt x="2735896" y="-17781"/>
                  <a:pt x="2383971" y="18288"/>
                </a:cubicBezTo>
                <a:cubicBezTo>
                  <a:pt x="2032046" y="54357"/>
                  <a:pt x="2019324" y="2920"/>
                  <a:pt x="1867989" y="18288"/>
                </a:cubicBezTo>
                <a:cubicBezTo>
                  <a:pt x="1716654" y="33656"/>
                  <a:pt x="1418675" y="32575"/>
                  <a:pt x="1169126" y="18288"/>
                </a:cubicBezTo>
                <a:cubicBezTo>
                  <a:pt x="919577" y="4001"/>
                  <a:pt x="798537" y="16165"/>
                  <a:pt x="561703" y="18288"/>
                </a:cubicBezTo>
                <a:cubicBezTo>
                  <a:pt x="324869" y="20411"/>
                  <a:pt x="221395" y="-912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diagram of a process&#10;&#10;Description automatically generated">
            <a:extLst>
              <a:ext uri="{FF2B5EF4-FFF2-40B4-BE49-F238E27FC236}">
                <a16:creationId xmlns:a16="http://schemas.microsoft.com/office/drawing/2014/main" id="{0D0DED93-E82B-AC84-300D-F3399EE0C6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923" y="2633472"/>
            <a:ext cx="9255105" cy="358635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3A1246-78A0-D5FF-A14D-455E7123D8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5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8872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E1C8A7-40A8-2882-71CC-6EA8252DA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>
                <a:solidFill>
                  <a:schemeClr val="bg1"/>
                </a:solidFill>
                <a:latin typeface="+mj-lt"/>
                <a:cs typeface="+mj-cs"/>
              </a:rPr>
              <a:t>OrderHistory</a:t>
            </a:r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Class Diagram	</a:t>
            </a:r>
          </a:p>
        </p:txBody>
      </p:sp>
      <p:pic>
        <p:nvPicPr>
          <p:cNvPr id="7" name="Picture 6" descr="A diagram of a company&#10;&#10;Description automatically generated with medium confidence">
            <a:extLst>
              <a:ext uri="{FF2B5EF4-FFF2-40B4-BE49-F238E27FC236}">
                <a16:creationId xmlns:a16="http://schemas.microsoft.com/office/drawing/2014/main" id="{F2B82FDE-5984-1493-73B5-C923AD942A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1320" y="1675227"/>
            <a:ext cx="9349359" cy="4394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1F0B04-98D5-78F6-F416-1F2A59FD8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6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7314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9" name="Rectangle 38">
            <a:extLst>
              <a:ext uri="{FF2B5EF4-FFF2-40B4-BE49-F238E27FC236}">
                <a16:creationId xmlns:a16="http://schemas.microsoft.com/office/drawing/2014/main" id="{D3E17859-C5F0-476F-A082-A4CB8841D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4375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84ECC9F-9A87-F653-F2C7-E7A0739FC3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599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>
                <a:latin typeface="+mj-lt"/>
                <a:cs typeface="+mj-cs"/>
              </a:rPr>
              <a:t>Order History API Contract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3C75D2B-DA3E-70CF-526B-72CCF667CF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6745" y="1363083"/>
            <a:ext cx="10747084" cy="4933808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4D8C4-246E-076B-82D1-2EC16D4798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49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0879F475-59B1-4993-848A-C2B683DE9AF5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17</a:t>
            </a:fld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41" name="!!Arc">
            <a:extLst>
              <a:ext uri="{FF2B5EF4-FFF2-40B4-BE49-F238E27FC236}">
                <a16:creationId xmlns:a16="http://schemas.microsoft.com/office/drawing/2014/main" id="{70BEB1E7-2F88-40BC-B73D-42E5B6F80B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1189197" flipV="1">
            <a:off x="6980527" y="1929807"/>
            <a:ext cx="4556632" cy="4556632"/>
          </a:xfrm>
          <a:prstGeom prst="arc">
            <a:avLst>
              <a:gd name="adj1" fmla="val 16200000"/>
              <a:gd name="adj2" fmla="val 20093138"/>
            </a:avLst>
          </a:prstGeom>
          <a:ln w="127000" cap="rnd">
            <a:solidFill>
              <a:schemeClr val="accent4"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!!Oval">
            <a:extLst>
              <a:ext uri="{FF2B5EF4-FFF2-40B4-BE49-F238E27FC236}">
                <a16:creationId xmlns:a16="http://schemas.microsoft.com/office/drawing/2014/main" id="{A7B99495-F43F-4D80-A44F-2CB4764EB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300988" y="1969050"/>
            <a:ext cx="666675" cy="6485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2901A4BC-37B3-F92F-5250-F5041A2262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3023981"/>
              </p:ext>
            </p:extLst>
          </p:nvPr>
        </p:nvGraphicFramePr>
        <p:xfrm>
          <a:off x="838200" y="2051437"/>
          <a:ext cx="5393361" cy="4125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5" name="Picture 44">
            <a:extLst>
              <a:ext uri="{FF2B5EF4-FFF2-40B4-BE49-F238E27FC236}">
                <a16:creationId xmlns:a16="http://schemas.microsoft.com/office/drawing/2014/main" id="{B9A57154-271D-E6E5-77B8-5221D3C728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4120" y="2119478"/>
            <a:ext cx="3657917" cy="398622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2067242D-0379-F5D8-5F74-0C08C98AF1F8}"/>
              </a:ext>
            </a:extLst>
          </p:cNvPr>
          <p:cNvSpPr txBox="1"/>
          <p:nvPr/>
        </p:nvSpPr>
        <p:spPr>
          <a:xfrm>
            <a:off x="6683433" y="1690688"/>
            <a:ext cx="3578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uccess Scenario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4C6DD83-272B-6DA8-B78D-EE1DFBD81D71}"/>
              </a:ext>
            </a:extLst>
          </p:cNvPr>
          <p:cNvSpPr txBox="1"/>
          <p:nvPr/>
        </p:nvSpPr>
        <p:spPr>
          <a:xfrm>
            <a:off x="1048633" y="1690688"/>
            <a:ext cx="3578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Failure Scenario </a:t>
            </a:r>
          </a:p>
        </p:txBody>
      </p:sp>
    </p:spTree>
    <p:extLst>
      <p:ext uri="{BB962C8B-B14F-4D97-AF65-F5344CB8AC3E}">
        <p14:creationId xmlns:p14="http://schemas.microsoft.com/office/powerpoint/2010/main" val="39655857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215926-E1C2-90DA-350B-695298CC7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4824"/>
            <a:ext cx="10909640" cy="136861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500">
                <a:solidFill>
                  <a:schemeClr val="tx1"/>
                </a:solidFill>
                <a:latin typeface="+mj-lt"/>
                <a:cs typeface="+mj-cs"/>
              </a:rPr>
              <a:t>Order Tracker Class Diagram and Use case diagram</a:t>
            </a:r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EFAD76-C6C3-2CA3-B060-A4042EA180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2794" y="2096362"/>
            <a:ext cx="9161928" cy="476301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25266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923F7B-5661-D976-A06D-087EF6CD0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rder Tracker swagg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C5944D-F446-8633-03A5-A2D4F6EB32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2428" y="1675227"/>
            <a:ext cx="9107144" cy="439419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202110-90F6-CE62-A937-25189406A88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9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9932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</a:t>
            </a:r>
            <a:endParaRPr lang="en-IN" sz="24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134736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Team 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Capstone Project overview</a:t>
            </a:r>
          </a:p>
          <a:p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Capstone Project solution design &amp;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Challenges &amp; errors encountered during solution desig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Learnings &amp; enhancements</a:t>
            </a:r>
          </a:p>
          <a:p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What extra has been implemented in the Capstone Projec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3011BFE-FF21-09DF-8BDE-F888B72AFE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79EC19-144D-F135-0C7F-F5BCEB534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Order Tracker frontend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42D163-6F15-9476-A1C4-7ED89C9DDF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0</a:t>
            </a:fld>
            <a:endParaRPr lang="en-I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54D759-8472-CBB7-D3B9-AAFA98BA08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54932"/>
            <a:ext cx="12192000" cy="454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523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029BA-2460-7E01-CC55-95FADDA2A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" y="365125"/>
            <a:ext cx="10868025" cy="1344613"/>
          </a:xfrm>
        </p:spPr>
        <p:txBody>
          <a:bodyPr/>
          <a:lstStyle/>
          <a:p>
            <a:r>
              <a:rPr lang="en-US" sz="4200">
                <a:ea typeface="Calibri Light"/>
                <a:cs typeface="Calibri Light"/>
              </a:rPr>
              <a:t>Order Return Class Diagram and use case diagram</a:t>
            </a:r>
            <a:endParaRPr lang="en-US"/>
          </a:p>
        </p:txBody>
      </p:sp>
      <p:pic>
        <p:nvPicPr>
          <p:cNvPr id="5" name="Content Placeholder 4" descr="A diagram of a process&#10;&#10;Description automatically generated">
            <a:extLst>
              <a:ext uri="{FF2B5EF4-FFF2-40B4-BE49-F238E27FC236}">
                <a16:creationId xmlns:a16="http://schemas.microsoft.com/office/drawing/2014/main" id="{561098E5-970B-7086-1265-42239D52EB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05970" y="1839295"/>
            <a:ext cx="4276725" cy="355282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849FFA-CD89-AB28-C172-9D3A6C418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21</a:t>
            </a:fld>
            <a:endParaRPr lang="en-IN"/>
          </a:p>
        </p:txBody>
      </p:sp>
      <p:pic>
        <p:nvPicPr>
          <p:cNvPr id="3" name="Picture 2" descr="A blue arrow pointing to a white rectangular box&#10;&#10;Description automatically generated">
            <a:extLst>
              <a:ext uri="{FF2B5EF4-FFF2-40B4-BE49-F238E27FC236}">
                <a16:creationId xmlns:a16="http://schemas.microsoft.com/office/drawing/2014/main" id="{C623C714-D5DE-B3E0-DC3C-DABD82ED8A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5525" y="2995362"/>
            <a:ext cx="4467225" cy="101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0751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4E788C-EBE5-E18A-2D50-3660406841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Calibri Light"/>
              </a:rPr>
              <a:t>Output Result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F61DD0-AF5C-FF56-0F41-DACC0B1D95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11275"/>
            <a:ext cx="10515600" cy="510381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514350" indent="-514350">
              <a:buAutoNum type="arabicPeriod"/>
            </a:pPr>
            <a:r>
              <a:rPr lang="en-US">
                <a:cs typeface="Calibri" panose="020F0502020204030204"/>
              </a:rPr>
              <a:t>Application output</a:t>
            </a:r>
          </a:p>
          <a:p>
            <a:pPr marL="514350" indent="-514350">
              <a:buAutoNum type="arabicPeriod"/>
            </a:pPr>
            <a:endParaRPr lang="en-US">
              <a:ea typeface="Calibri"/>
              <a:cs typeface="Calibri" panose="020F0502020204030204"/>
            </a:endParaRPr>
          </a:p>
          <a:p>
            <a:pPr marL="514350" indent="-514350">
              <a:buAutoNum type="arabicPeriod"/>
            </a:pPr>
            <a:r>
              <a:rPr lang="en-US">
                <a:ea typeface="Calibri"/>
                <a:cs typeface="Calibri" panose="020F0502020204030204"/>
              </a:rPr>
              <a:t>Postman Execution results</a:t>
            </a:r>
          </a:p>
          <a:p>
            <a:pPr marL="514350" indent="-514350">
              <a:buAutoNum type="arabicPeriod"/>
            </a:pPr>
            <a:endParaRPr lang="en-US">
              <a:cs typeface="Calibri" panose="020F0502020204030204"/>
            </a:endParaRPr>
          </a:p>
          <a:p>
            <a:pPr marL="514350" indent="-514350">
              <a:buAutoNum type="arabicPeriod"/>
            </a:pPr>
            <a:r>
              <a:rPr lang="en-US">
                <a:cs typeface="Calibri" panose="020F0502020204030204"/>
              </a:rPr>
              <a:t>Docker Image output </a:t>
            </a:r>
            <a:endParaRPr lang="en-US">
              <a:ea typeface="Calibri"/>
              <a:cs typeface="Calibri" panose="020F0502020204030204"/>
            </a:endParaRPr>
          </a:p>
          <a:p>
            <a:pPr marL="0" indent="0">
              <a:buNone/>
            </a:pPr>
            <a:endParaRPr lang="en-US">
              <a:cs typeface="Calibri" panose="020F0502020204030204"/>
            </a:endParaRPr>
          </a:p>
          <a:p>
            <a:pPr marL="0" indent="0">
              <a:buNone/>
            </a:pPr>
            <a:r>
              <a:rPr lang="en-US">
                <a:ea typeface="Calibri"/>
                <a:cs typeface="Calibri" panose="020F0502020204030204"/>
              </a:rPr>
              <a:t>4. After deploying into cloud the execution results from postma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8C429D-E68F-2F64-129C-3338E723F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22</a:t>
            </a:fld>
            <a:endParaRPr lang="en-IN"/>
          </a:p>
        </p:txBody>
      </p:sp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99269275-E9B8-0664-1442-98886D26E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0283" y="1312033"/>
            <a:ext cx="4344693" cy="1104677"/>
          </a:xfrm>
          <a:prstGeom prst="rect">
            <a:avLst/>
          </a:prstGeom>
        </p:spPr>
      </p:pic>
      <p:pic>
        <p:nvPicPr>
          <p:cNvPr id="7" name="Picture 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C51F7DC4-8FA3-EB88-CE70-8C5E05A61E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0754" y="3214390"/>
            <a:ext cx="4343517" cy="1180989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DAE7006B-3D8F-4D57-BAA3-2CD46303A7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9225" y="2415745"/>
            <a:ext cx="4343400" cy="854935"/>
          </a:xfrm>
          <a:prstGeom prst="rect">
            <a:avLst/>
          </a:prstGeom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C0E0676E-FB78-40F8-6417-777983B5E5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9225" y="4799486"/>
            <a:ext cx="4343400" cy="1126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145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550522-4872-B54A-33CD-E1F865973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206" y="1363083"/>
            <a:ext cx="11249622" cy="502509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•</a:t>
            </a:r>
            <a:r>
              <a:rPr lang="en-US" sz="1400">
                <a:latin typeface="Arial"/>
                <a:cs typeface="Arial"/>
              </a:rPr>
              <a:t> Program will notify the user about the order status change (Order Placed, in-transit, Delivered) in the email notification</a:t>
            </a:r>
          </a:p>
          <a:p>
            <a:endParaRPr lang="en-US" sz="1400" b="1">
              <a:latin typeface="Arial"/>
              <a:cs typeface="Arial"/>
            </a:endParaRPr>
          </a:p>
          <a:p>
            <a:r>
              <a:rPr lang="en-US" sz="1400" b="1">
                <a:latin typeface="Arial"/>
                <a:cs typeface="Arial"/>
              </a:rPr>
              <a:t>Sample Email:</a:t>
            </a:r>
            <a:endParaRPr lang="en-US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99C250-2343-E9F8-8896-A8409126D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Order Notification Servic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679299-40B0-2065-E2EB-309C9A05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3</a:t>
            </a:fld>
            <a:endParaRPr lang="en-I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555892-BE96-C079-84A1-75F54F37B88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85" y="2641727"/>
            <a:ext cx="7772400" cy="782342"/>
          </a:xfrm>
          <a:prstGeom prst="rect">
            <a:avLst/>
          </a:prstGeom>
        </p:spPr>
      </p:pic>
      <p:pic>
        <p:nvPicPr>
          <p:cNvPr id="8" name="Picture 7" descr="A white background with black dots&#10;&#10;Description automatically generated">
            <a:extLst>
              <a:ext uri="{FF2B5EF4-FFF2-40B4-BE49-F238E27FC236}">
                <a16:creationId xmlns:a16="http://schemas.microsoft.com/office/drawing/2014/main" id="{A4BEA93D-90CE-C2FC-509C-2C04CCC79A1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85" y="3691115"/>
            <a:ext cx="7772400" cy="160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7578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215926-E1C2-90DA-350B-695298CC7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4824"/>
            <a:ext cx="10909640" cy="136861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500" b="1">
                <a:solidFill>
                  <a:schemeClr val="tx1"/>
                </a:solidFill>
                <a:latin typeface="+mj-lt"/>
                <a:cs typeface="+mj-cs"/>
              </a:rPr>
              <a:t>Order Notification Class Diagram</a:t>
            </a:r>
            <a:endParaRPr lang="en-US" sz="3500" b="1">
              <a:solidFill>
                <a:schemeClr val="tx1"/>
              </a:solidFill>
              <a:latin typeface="+mj-lt"/>
              <a:ea typeface="Calibri Light"/>
              <a:cs typeface="Calibri Light"/>
            </a:endParaRPr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diagram of a service&#10;&#10;Description automatically generated">
            <a:extLst>
              <a:ext uri="{FF2B5EF4-FFF2-40B4-BE49-F238E27FC236}">
                <a16:creationId xmlns:a16="http://schemas.microsoft.com/office/drawing/2014/main" id="{C3DBDCF9-04BF-73E6-13D5-58593866D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709" y="1595670"/>
            <a:ext cx="11101079" cy="4748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280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550522-4872-B54A-33CD-E1F865973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206" y="1363083"/>
            <a:ext cx="11249622" cy="502509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•</a:t>
            </a:r>
            <a:r>
              <a:rPr lang="en-US" sz="1400">
                <a:latin typeface="Arial"/>
                <a:cs typeface="Arial"/>
              </a:rPr>
              <a:t> Program will create a Support ticket and provide a response. Program enables the user to check all the ticket he has created and get all details of the specific ticket</a:t>
            </a:r>
          </a:p>
          <a:p>
            <a:endParaRPr lang="en-US" sz="1400" b="1">
              <a:latin typeface="Arial"/>
              <a:cs typeface="Arial"/>
            </a:endParaRPr>
          </a:p>
          <a:p>
            <a:r>
              <a:rPr lang="en-US" sz="1400" b="1">
                <a:latin typeface="Arial"/>
                <a:cs typeface="Arial"/>
              </a:rPr>
              <a:t>Sample Responses:</a:t>
            </a:r>
            <a:endParaRPr lang="en-US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99C250-2343-E9F8-8896-A8409126D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Support Ticket Service</a:t>
            </a:r>
            <a:endParaRPr lang="en-US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679299-40B0-2065-E2EB-309C9A05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5</a:t>
            </a:fld>
            <a:endParaRPr lang="en-IN"/>
          </a:p>
        </p:txBody>
      </p:sp>
      <p:pic>
        <p:nvPicPr>
          <p:cNvPr id="5" name="Picture 4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6D9C163D-2E6C-6334-9178-6B6E9973D4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9071" y="3006694"/>
            <a:ext cx="2743200" cy="2680983"/>
          </a:xfrm>
          <a:prstGeom prst="rect">
            <a:avLst/>
          </a:prstGeom>
        </p:spPr>
      </p:pic>
      <p:pic>
        <p:nvPicPr>
          <p:cNvPr id="7" name="Picture 6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A2228607-B9FC-616A-6491-F51E11B1D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7570" y="3063014"/>
            <a:ext cx="2743200" cy="21121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E565D10-AFD1-EE0D-E1BA-5CF4676F39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33758" y="3010599"/>
            <a:ext cx="2743200" cy="121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1070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550522-4872-B54A-33CD-E1F865973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206" y="1363083"/>
            <a:ext cx="11249622" cy="5025090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sz="1400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99C250-2343-E9F8-8896-A8409126D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                    Support Ticket Service – Class Diagram</a:t>
            </a:r>
            <a:endParaRPr lang="en-US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679299-40B0-2065-E2EB-309C9A05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6</a:t>
            </a:fld>
            <a:endParaRPr lang="en-IN"/>
          </a:p>
        </p:txBody>
      </p:sp>
      <p:pic>
        <p:nvPicPr>
          <p:cNvPr id="6" name="Picture 5" descr="A diagram of a program&#10;&#10;Description automatically generated">
            <a:extLst>
              <a:ext uri="{FF2B5EF4-FFF2-40B4-BE49-F238E27FC236}">
                <a16:creationId xmlns:a16="http://schemas.microsoft.com/office/drawing/2014/main" id="{6B17572A-9BAE-C839-6EC4-F1558D8192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257" y="998842"/>
            <a:ext cx="9935682" cy="527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1906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7" name="Rectangle 46">
            <a:extLst>
              <a:ext uri="{FF2B5EF4-FFF2-40B4-BE49-F238E27FC236}">
                <a16:creationId xmlns:a16="http://schemas.microsoft.com/office/drawing/2014/main" id="{C497725C-6431-496A-B11C-691354780D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FA1B59-90A6-CEB8-DB4B-699ACC76F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10" y="3023754"/>
            <a:ext cx="4900144" cy="273696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54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ICD pipeline Integration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3048031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B75587-5F6A-8219-E54D-FE5565A1624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492240"/>
            <a:ext cx="187174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27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089A89A-1E9C-4761-9DFF-53C275FBF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58000" y="257770"/>
            <a:ext cx="4837176" cy="29799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A47931D3-C8D4-32F7-B86A-8BA461E88D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674" r="-2" b="-2"/>
          <a:stretch/>
        </p:blipFill>
        <p:spPr>
          <a:xfrm>
            <a:off x="7114162" y="471748"/>
            <a:ext cx="4324849" cy="2552007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58000" y="3462252"/>
            <a:ext cx="4837176" cy="29799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diagram of a company&#10;&#10;Description automatically generated">
            <a:extLst>
              <a:ext uri="{FF2B5EF4-FFF2-40B4-BE49-F238E27FC236}">
                <a16:creationId xmlns:a16="http://schemas.microsoft.com/office/drawing/2014/main" id="{97F4C463-D9EB-13A5-8478-E9121420784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403"/>
          <a:stretch/>
        </p:blipFill>
        <p:spPr>
          <a:xfrm>
            <a:off x="7114162" y="3676230"/>
            <a:ext cx="4324849" cy="2552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853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4" name="Rectangle 43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52878-E4C6-C789-4624-959514B10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onarQube Integration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95AD68-F0B7-1031-6F89-23054D2881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2428" y="1324501"/>
            <a:ext cx="7225748" cy="4208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5622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own Arrow 7">
            <a:extLst>
              <a:ext uri="{FF2B5EF4-FFF2-40B4-BE49-F238E27FC236}">
                <a16:creationId xmlns:a16="http://schemas.microsoft.com/office/drawing/2014/main" id="{D4771268-CB57-404A-9271-370EB28F60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00100" y="1491343"/>
            <a:ext cx="3333749" cy="3499103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white page with text&#10;&#10;Description automatically generated with medium confidence">
            <a:extLst>
              <a:ext uri="{FF2B5EF4-FFF2-40B4-BE49-F238E27FC236}">
                <a16:creationId xmlns:a16="http://schemas.microsoft.com/office/drawing/2014/main" id="{FEF75CD0-606A-3CF5-CF45-BB772CCFAE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6313" y="642938"/>
            <a:ext cx="3003550" cy="4229100"/>
          </a:xfrm>
          <a:prstGeom prst="rect">
            <a:avLst/>
          </a:prstGeom>
        </p:spPr>
      </p:pic>
      <p:pic>
        <p:nvPicPr>
          <p:cNvPr id="6" name="Content Placeholder 5" descr="A screen shot of a computer&#10;&#10;Description automatically generated">
            <a:extLst>
              <a:ext uri="{FF2B5EF4-FFF2-40B4-BE49-F238E27FC236}">
                <a16:creationId xmlns:a16="http://schemas.microsoft.com/office/drawing/2014/main" id="{49E30A00-5329-9CA6-E0F2-9CB52FE996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786313" y="4940300"/>
            <a:ext cx="3003550" cy="1270000"/>
          </a:xfrm>
        </p:spPr>
      </p:pic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33FC20AD-1B78-36D4-AE68-AF95079857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8125" y="642938"/>
            <a:ext cx="3689350" cy="55673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56A36A-2F5A-FD91-15F8-CD52D2F6A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1967266"/>
            <a:ext cx="2628900" cy="2547257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Kubernetes Deployment 	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6823A3-690C-908E-D461-05A7A7A16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34184" y="6356350"/>
            <a:ext cx="51434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1E171E4F-9C74-4E79-BFC0-DC9DF09E65AC}" type="slidenum">
              <a:rPr lang="en-US">
                <a:solidFill>
                  <a:schemeClr val="tx1">
                    <a:alpha val="80000"/>
                  </a:schemeClr>
                </a:solidFill>
              </a:rPr>
              <a:pPr>
                <a:spcAft>
                  <a:spcPts val="600"/>
                </a:spcAft>
              </a:pPr>
              <a:t>29</a:t>
            </a:fld>
            <a:endParaRPr lang="en-US">
              <a:solidFill>
                <a:schemeClr val="tx1">
                  <a:alpha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415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6D1A2CED-DA9B-4CCF-8215-CFC65FE716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6" name="Rectangle 35">
            <a:extLst>
              <a:ext uri="{FF2B5EF4-FFF2-40B4-BE49-F238E27FC236}">
                <a16:creationId xmlns:a16="http://schemas.microsoft.com/office/drawing/2014/main" id="{562DFC44-A40C-4573-9230-B3EDB3EC8E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260019"/>
            <a:ext cx="11167447" cy="5933012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B20CA0-B811-5EC1-D77C-9C9CCE55F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09521"/>
            <a:ext cx="10232136" cy="1014984"/>
          </a:xfrm>
        </p:spPr>
        <p:txBody>
          <a:bodyPr>
            <a:normAutofit/>
          </a:bodyPr>
          <a:lstStyle/>
          <a:p>
            <a:r>
              <a:rPr lang="en-US" sz="4000" i="1">
                <a:latin typeface="+mn-lt"/>
              </a:rPr>
              <a:t>Team8 Introduc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5589D35-CF9F-4DE9-A792-8571A09E9B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658327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8" name="Picture 7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AB2F56D1-71B5-03F1-7E1E-82165E57345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568" y="1707709"/>
            <a:ext cx="1573543" cy="1573543"/>
          </a:xfrm>
          <a:prstGeom prst="rect">
            <a:avLst/>
          </a:prstGeom>
          <a:effectLst>
            <a:glow>
              <a:schemeClr val="accent1"/>
            </a:glow>
            <a:softEdge rad="99573"/>
          </a:effectLst>
        </p:spPr>
      </p:pic>
      <p:pic>
        <p:nvPicPr>
          <p:cNvPr id="9" name="Picture 8" descr="A person with a mustache and beard&#10;&#10;Description automatically generated">
            <a:extLst>
              <a:ext uri="{FF2B5EF4-FFF2-40B4-BE49-F238E27FC236}">
                <a16:creationId xmlns:a16="http://schemas.microsoft.com/office/drawing/2014/main" id="{59315A16-7181-5C63-E696-B6F24BB9AB9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105" y="1726168"/>
            <a:ext cx="1573543" cy="1573543"/>
          </a:xfrm>
          <a:prstGeom prst="rect">
            <a:avLst/>
          </a:prstGeom>
          <a:effectLst>
            <a:softEdge rad="0"/>
          </a:effectLst>
        </p:spPr>
      </p:pic>
      <p:pic>
        <p:nvPicPr>
          <p:cNvPr id="11" name="Picture 10" descr="A person in a red and white checked shirt&#10;&#10;Description automatically generated">
            <a:extLst>
              <a:ext uri="{FF2B5EF4-FFF2-40B4-BE49-F238E27FC236}">
                <a16:creationId xmlns:a16="http://schemas.microsoft.com/office/drawing/2014/main" id="{6FE29571-DE77-1F23-A65E-CE35635DEC0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1572" y="1726168"/>
            <a:ext cx="1538683" cy="157354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112E781-B82A-CF8B-C323-6CEACF4734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9379" y="1726168"/>
            <a:ext cx="1527909" cy="1573543"/>
          </a:xfrm>
          <a:prstGeom prst="rect">
            <a:avLst/>
          </a:prstGeom>
        </p:spPr>
      </p:pic>
      <p:sp>
        <p:nvSpPr>
          <p:cNvPr id="3" name="Rectangle: Rounded Corners 105">
            <a:extLst>
              <a:ext uri="{FF2B5EF4-FFF2-40B4-BE49-F238E27FC236}">
                <a16:creationId xmlns:a16="http://schemas.microsoft.com/office/drawing/2014/main" id="{4A962216-0F13-8EFC-9D30-CD3599A5DC44}"/>
              </a:ext>
            </a:extLst>
          </p:cNvPr>
          <p:cNvSpPr/>
          <p:nvPr/>
        </p:nvSpPr>
        <p:spPr>
          <a:xfrm>
            <a:off x="1124414" y="1729207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E7C37D-33D9-D24A-E91B-C8622E65F5CF}"/>
              </a:ext>
            </a:extLst>
          </p:cNvPr>
          <p:cNvSpPr txBox="1"/>
          <p:nvPr/>
        </p:nvSpPr>
        <p:spPr>
          <a:xfrm>
            <a:off x="1198363" y="3325722"/>
            <a:ext cx="1456853" cy="237757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50" kern="1200" dirty="0">
                <a:latin typeface="+mn-lt"/>
                <a:ea typeface="+mn-ea"/>
                <a:cs typeface="+mn-cs"/>
              </a:rPr>
              <a:t>Sathish PH</a:t>
            </a:r>
          </a:p>
          <a:p>
            <a:pPr algn="ctr" defTabSz="795528">
              <a:spcAft>
                <a:spcPts val="600"/>
              </a:spcAft>
            </a:pPr>
            <a:r>
              <a:rPr lang="en-US" sz="1200" kern="1200" dirty="0">
                <a:latin typeface="+mn-lt"/>
                <a:ea typeface="+mn-ea"/>
                <a:cs typeface="+mn-cs"/>
              </a:rPr>
              <a:t>Scrum Master</a:t>
            </a:r>
            <a:r>
              <a:rPr lang="en-US" sz="1200" dirty="0"/>
              <a:t> </a:t>
            </a:r>
            <a:endParaRPr lang="en-US" sz="1200" kern="1200" dirty="0">
              <a:latin typeface="+mn-lt"/>
              <a:cs typeface="Calibri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200" kern="1200" dirty="0">
                <a:latin typeface="+mn-lt"/>
                <a:ea typeface="+mn-ea"/>
                <a:cs typeface="+mn-cs"/>
              </a:rPr>
              <a:t>Backend Developer</a:t>
            </a:r>
            <a:endParaRPr lang="en-US" sz="1200" kern="1200" dirty="0">
              <a:latin typeface="+mn-lt"/>
              <a:cs typeface="Calibri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200" kern="1200" dirty="0">
                <a:latin typeface="+mn-lt"/>
                <a:ea typeface="+mn-ea"/>
                <a:cs typeface="+mn-cs"/>
              </a:rPr>
              <a:t>	</a:t>
            </a:r>
            <a:endParaRPr lang="en-US" sz="1200" kern="1200" dirty="0">
              <a:latin typeface="+mn-lt"/>
              <a:cs typeface="Calibri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 kern="1200" dirty="0">
                <a:latin typeface="+mn-lt"/>
                <a:ea typeface="+mn-ea"/>
                <a:cs typeface="+mn-cs"/>
              </a:rPr>
              <a:t>User Stories : </a:t>
            </a:r>
          </a:p>
          <a:p>
            <a:pPr defTabSz="795528">
              <a:spcAft>
                <a:spcPts val="600"/>
              </a:spcAft>
            </a:pPr>
            <a:r>
              <a:rPr lang="en-US" sz="1200" kern="1200" dirty="0">
                <a:latin typeface="+mn-lt"/>
                <a:ea typeface="+mn-ea"/>
                <a:cs typeface="+mn-cs"/>
              </a:rPr>
              <a:t>1Order history </a:t>
            </a:r>
            <a:br>
              <a:rPr lang="en-US" sz="1200" kern="1200" dirty="0">
                <a:latin typeface="+mn-lt"/>
                <a:ea typeface="+mn-ea"/>
                <a:cs typeface="+mn-cs"/>
              </a:rPr>
            </a:br>
            <a:r>
              <a:rPr lang="en-US" sz="1200" kern="1200" dirty="0">
                <a:latin typeface="+mn-lt"/>
                <a:ea typeface="+mn-ea"/>
                <a:cs typeface="+mn-cs"/>
              </a:rPr>
              <a:t>2.CICD &amp; Kubernetes</a:t>
            </a:r>
            <a:br>
              <a:rPr lang="en-US" sz="1200" kern="1200" dirty="0">
                <a:latin typeface="+mn-lt"/>
                <a:ea typeface="+mn-ea"/>
                <a:cs typeface="+mn-cs"/>
              </a:rPr>
            </a:br>
            <a:r>
              <a:rPr lang="en-US" sz="1200" kern="1200" dirty="0">
                <a:latin typeface="+mn-lt"/>
                <a:ea typeface="+mn-ea"/>
                <a:cs typeface="+mn-cs"/>
              </a:rPr>
              <a:t>3.Integration and Document</a:t>
            </a:r>
            <a:endParaRPr lang="en-US" sz="1200" dirty="0"/>
          </a:p>
        </p:txBody>
      </p:sp>
      <p:sp>
        <p:nvSpPr>
          <p:cNvPr id="19" name="Rectangle: Rounded Corners 105">
            <a:extLst>
              <a:ext uri="{FF2B5EF4-FFF2-40B4-BE49-F238E27FC236}">
                <a16:creationId xmlns:a16="http://schemas.microsoft.com/office/drawing/2014/main" id="{3416D498-40C2-B539-0F35-C317244402B1}"/>
              </a:ext>
            </a:extLst>
          </p:cNvPr>
          <p:cNvSpPr/>
          <p:nvPr/>
        </p:nvSpPr>
        <p:spPr>
          <a:xfrm>
            <a:off x="2833938" y="1726169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05">
            <a:extLst>
              <a:ext uri="{FF2B5EF4-FFF2-40B4-BE49-F238E27FC236}">
                <a16:creationId xmlns:a16="http://schemas.microsoft.com/office/drawing/2014/main" id="{ABA455E1-05F6-EA09-847C-50703A66129A}"/>
              </a:ext>
            </a:extLst>
          </p:cNvPr>
          <p:cNvSpPr/>
          <p:nvPr/>
        </p:nvSpPr>
        <p:spPr>
          <a:xfrm>
            <a:off x="9774160" y="1726168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: Rounded Corners 105">
            <a:extLst>
              <a:ext uri="{FF2B5EF4-FFF2-40B4-BE49-F238E27FC236}">
                <a16:creationId xmlns:a16="http://schemas.microsoft.com/office/drawing/2014/main" id="{26600A2F-BDF3-0B5A-C1F0-8FB9B32EBC3E}"/>
              </a:ext>
            </a:extLst>
          </p:cNvPr>
          <p:cNvSpPr/>
          <p:nvPr/>
        </p:nvSpPr>
        <p:spPr>
          <a:xfrm>
            <a:off x="8063746" y="1726168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105">
            <a:extLst>
              <a:ext uri="{FF2B5EF4-FFF2-40B4-BE49-F238E27FC236}">
                <a16:creationId xmlns:a16="http://schemas.microsoft.com/office/drawing/2014/main" id="{FC9C7430-24A7-0BA7-3899-14F5D970A505}"/>
              </a:ext>
            </a:extLst>
          </p:cNvPr>
          <p:cNvSpPr/>
          <p:nvPr/>
        </p:nvSpPr>
        <p:spPr>
          <a:xfrm>
            <a:off x="6320773" y="1730322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105">
            <a:extLst>
              <a:ext uri="{FF2B5EF4-FFF2-40B4-BE49-F238E27FC236}">
                <a16:creationId xmlns:a16="http://schemas.microsoft.com/office/drawing/2014/main" id="{DDD9E95C-614B-8BA5-7F7B-7820815FDCD1}"/>
              </a:ext>
            </a:extLst>
          </p:cNvPr>
          <p:cNvSpPr/>
          <p:nvPr/>
        </p:nvSpPr>
        <p:spPr>
          <a:xfrm>
            <a:off x="4577801" y="1726168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 descr="A person with a beard wearing a plaid shirt&#10;&#10;Description automatically generated">
            <a:extLst>
              <a:ext uri="{FF2B5EF4-FFF2-40B4-BE49-F238E27FC236}">
                <a16:creationId xmlns:a16="http://schemas.microsoft.com/office/drawing/2014/main" id="{22534D52-65CB-0C42-B8C0-CBBD117A2B6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8830" y="1703992"/>
            <a:ext cx="1573543" cy="157354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9792853-0E0B-A5FF-3BC5-C93FC56DD275}"/>
              </a:ext>
            </a:extLst>
          </p:cNvPr>
          <p:cNvSpPr txBox="1"/>
          <p:nvPr/>
        </p:nvSpPr>
        <p:spPr>
          <a:xfrm>
            <a:off x="2867386" y="3325722"/>
            <a:ext cx="1572192" cy="2161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rayanan A </a:t>
            </a:r>
          </a:p>
          <a:p>
            <a:pPr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n</a:t>
            </a:r>
            <a:r>
              <a:rPr lang="en-US" sz="1200" b="1">
                <a:ea typeface="+mn-lt"/>
                <a:cs typeface="+mn-lt"/>
              </a:rPr>
              <a:t> order Tracking</a:t>
            </a:r>
            <a:r>
              <a:rPr lang="en-US" sz="1200">
                <a:ea typeface="+mn-lt"/>
                <a:cs typeface="+mn-lt"/>
              </a:rPr>
              <a:t> the orders seamless with real time tracking </a:t>
            </a:r>
            <a:endParaRPr lang="en-US" sz="1200">
              <a:cs typeface="Calibri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DB36200-FB98-A9E0-84BC-96FD41B6111E}"/>
              </a:ext>
            </a:extLst>
          </p:cNvPr>
          <p:cNvSpPr txBox="1"/>
          <p:nvPr/>
        </p:nvSpPr>
        <p:spPr>
          <a:xfrm>
            <a:off x="4514163" y="3288986"/>
            <a:ext cx="1647484" cy="233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yam Sundar R</a:t>
            </a:r>
          </a:p>
          <a:p>
            <a:pPr algn="ctr"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defTabSz="795528">
              <a:spcAft>
                <a:spcPts val="600"/>
              </a:spcAft>
            </a:pPr>
            <a:endParaRPr lang="en-US" sz="1392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n</a:t>
            </a:r>
            <a:r>
              <a:rPr lang="en-US" sz="1200" b="1">
                <a:ea typeface="+mn-lt"/>
                <a:cs typeface="+mn-lt"/>
              </a:rPr>
              <a:t> order Notification</a:t>
            </a:r>
            <a:r>
              <a:rPr lang="en-US" sz="1200">
                <a:ea typeface="+mn-lt"/>
                <a:cs typeface="+mn-lt"/>
              </a:rPr>
              <a:t> for the order status change to end user on timely manner</a:t>
            </a:r>
            <a:endParaRPr lang="en-US" sz="16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A8F6802-F9C6-BC4D-F8EB-615360D57FEB}"/>
              </a:ext>
            </a:extLst>
          </p:cNvPr>
          <p:cNvSpPr txBox="1"/>
          <p:nvPr/>
        </p:nvSpPr>
        <p:spPr>
          <a:xfrm>
            <a:off x="6288676" y="3318071"/>
            <a:ext cx="1601578" cy="2073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ree</a:t>
            </a: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ari B</a:t>
            </a:r>
          </a:p>
          <a:p>
            <a:pPr algn="ctr"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algn="ctr"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n</a:t>
            </a:r>
            <a:r>
              <a:rPr lang="en-US" sz="1200" b="1">
                <a:ea typeface="+mn-lt"/>
                <a:cs typeface="+mn-lt"/>
              </a:rPr>
              <a:t> order Return</a:t>
            </a:r>
            <a:r>
              <a:rPr lang="en-US" sz="1200">
                <a:ea typeface="+mn-lt"/>
                <a:cs typeface="+mn-lt"/>
              </a:rPr>
              <a:t> for the order and initiate the return process for the order</a:t>
            </a:r>
            <a:endParaRPr lang="en-US" sz="12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E49FE5-AD6E-FE61-AF3F-CD8FDC7949D6}"/>
              </a:ext>
            </a:extLst>
          </p:cNvPr>
          <p:cNvSpPr txBox="1"/>
          <p:nvPr/>
        </p:nvSpPr>
        <p:spPr>
          <a:xfrm>
            <a:off x="8074940" y="3277535"/>
            <a:ext cx="1573544" cy="245913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50" kern="1200">
                <a:latin typeface="+mn-lt"/>
                <a:ea typeface="+mn-ea"/>
                <a:cs typeface="+mn-cs"/>
              </a:rPr>
              <a:t>Nelson Prabhu</a:t>
            </a:r>
          </a:p>
          <a:p>
            <a:pPr algn="ctr"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50"/>
              <a:t>Frontend Developer</a:t>
            </a:r>
            <a:endParaRPr lang="en-US" sz="1350" kern="1200">
              <a:latin typeface="+mn-lt"/>
              <a:ea typeface="Calibri"/>
              <a:cs typeface="Calibri"/>
            </a:endParaRPr>
          </a:p>
          <a:p>
            <a:pPr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</a:t>
            </a:r>
            <a:r>
              <a:rPr lang="en-US" sz="1200" b="1">
                <a:ea typeface="+mn-lt"/>
                <a:cs typeface="+mn-lt"/>
              </a:rPr>
              <a:t> front-end react application</a:t>
            </a:r>
            <a:r>
              <a:rPr lang="en-US" sz="1200">
                <a:ea typeface="+mn-lt"/>
                <a:cs typeface="+mn-lt"/>
              </a:rPr>
              <a:t> for the order history , support and returns function for end user</a:t>
            </a:r>
            <a:endParaRPr lang="en-US" sz="12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C48059-AB6A-0D31-AFDF-0769EAC34E6A}"/>
              </a:ext>
            </a:extLst>
          </p:cNvPr>
          <p:cNvSpPr txBox="1"/>
          <p:nvPr/>
        </p:nvSpPr>
        <p:spPr>
          <a:xfrm>
            <a:off x="9774160" y="3296616"/>
            <a:ext cx="1573544" cy="2271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ndarrajan</a:t>
            </a: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</a:t>
            </a:r>
            <a:endParaRPr lang="en-US" sz="1392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defTabSz="795528">
              <a:spcAft>
                <a:spcPts val="600"/>
              </a:spcAft>
            </a:pPr>
            <a:endParaRPr lang="en-US" sz="96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</a:t>
            </a:r>
            <a:r>
              <a:rPr lang="en-US" sz="1200" b="1">
                <a:ea typeface="+mn-lt"/>
                <a:cs typeface="+mn-lt"/>
              </a:rPr>
              <a:t> support ticket</a:t>
            </a:r>
            <a:r>
              <a:rPr lang="en-US" sz="1200">
                <a:ea typeface="+mn-lt"/>
                <a:cs typeface="+mn-lt"/>
              </a:rPr>
              <a:t> for the order and end user can contact  support team.</a:t>
            </a:r>
            <a:endParaRPr lang="en-US" sz="1200"/>
          </a:p>
        </p:txBody>
      </p:sp>
      <p:pic>
        <p:nvPicPr>
          <p:cNvPr id="4" name="Picture 3" descr="A person with a mustache and beard&#10;&#10;Description automatically generated">
            <a:extLst>
              <a:ext uri="{FF2B5EF4-FFF2-40B4-BE49-F238E27FC236}">
                <a16:creationId xmlns:a16="http://schemas.microsoft.com/office/drawing/2014/main" id="{FC91865D-0B25-23A1-FAC3-39210AF5FE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19550" y="1795530"/>
            <a:ext cx="1271522" cy="147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7926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diagram of a product&#10;&#10;Description automatically generated">
            <a:extLst>
              <a:ext uri="{FF2B5EF4-FFF2-40B4-BE49-F238E27FC236}">
                <a16:creationId xmlns:a16="http://schemas.microsoft.com/office/drawing/2014/main" id="{1ADF4B77-4998-8239-3F59-0967E328E5E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960" y="2967652"/>
            <a:ext cx="7533688" cy="293956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2D9A2C-A4CC-51E1-E34A-05245E3D47B4}"/>
              </a:ext>
            </a:extLst>
          </p:cNvPr>
          <p:cNvSpPr txBox="1"/>
          <p:nvPr/>
        </p:nvSpPr>
        <p:spPr>
          <a:xfrm>
            <a:off x="654913" y="1306129"/>
            <a:ext cx="1009763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er will be able to share the feedback for the products that he has already purchase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er should be authenticated to comment or review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er should be able to view the updated list of product review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very user comment will be validated by storing in temp DB before updating it in the main DB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dmin will validate the reviews manually and then approve to update in main DB.</a:t>
            </a:r>
          </a:p>
        </p:txBody>
      </p:sp>
    </p:spTree>
    <p:extLst>
      <p:ext uri="{BB962C8B-B14F-4D97-AF65-F5344CB8AC3E}">
        <p14:creationId xmlns:p14="http://schemas.microsoft.com/office/powerpoint/2010/main" val="37837233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diagram of a system&#10;&#10;Description automatically generated">
            <a:extLst>
              <a:ext uri="{FF2B5EF4-FFF2-40B4-BE49-F238E27FC236}">
                <a16:creationId xmlns:a16="http://schemas.microsoft.com/office/drawing/2014/main" id="{BA8A2F78-FBBB-F21B-275F-2A75A50CE06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44" y="1079337"/>
            <a:ext cx="3466129" cy="252429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7" name="Picture 6" descr="A diagram of a system&#10;&#10;Description automatically generated">
            <a:extLst>
              <a:ext uri="{FF2B5EF4-FFF2-40B4-BE49-F238E27FC236}">
                <a16:creationId xmlns:a16="http://schemas.microsoft.com/office/drawing/2014/main" id="{90AB1FC4-0B8E-398A-3E64-C03B04CA64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44" y="4021680"/>
            <a:ext cx="4148800" cy="192970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46741C4-950C-A6B4-6FCE-CFF5AA282DD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9909" y="1076441"/>
            <a:ext cx="5227132" cy="500496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A8E68A0-084C-A8FC-9769-06CD7218603E}"/>
              </a:ext>
            </a:extLst>
          </p:cNvPr>
          <p:cNvSpPr txBox="1"/>
          <p:nvPr/>
        </p:nvSpPr>
        <p:spPr>
          <a:xfrm>
            <a:off x="8392160" y="1436596"/>
            <a:ext cx="20441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9037729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8757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06972" y="993227"/>
            <a:ext cx="11146116" cy="525515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er Login is identified using the the active session cookie present in the browser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User reviews &amp; ratings are stored in temporary DB collection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for validation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When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rating comment is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approved, delete from temp DB and update in the original product DB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er has an option to update his review until it is approved and published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.</a:t>
            </a:r>
            <a:endParaRPr lang="en-US" dirty="0">
              <a:solidFill>
                <a:srgbClr val="374151"/>
              </a:solidFill>
              <a:latin typeface="Söhne"/>
            </a:endParaRPr>
          </a:p>
          <a:p>
            <a:r>
              <a:rPr lang="en-US" b="1" i="0" u="sng" dirty="0">
                <a:solidFill>
                  <a:srgbClr val="374151"/>
                </a:solidFill>
                <a:effectLst/>
                <a:latin typeface="Söhne"/>
              </a:rPr>
              <a:t>Controller Sampl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1278D01D-73D8-E732-994A-8784D81F4EA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" y="2878959"/>
            <a:ext cx="7772400" cy="14847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 descr="A screen shot of a computer&#10;&#10;Description automatically generated">
            <a:extLst>
              <a:ext uri="{FF2B5EF4-FFF2-40B4-BE49-F238E27FC236}">
                <a16:creationId xmlns:a16="http://schemas.microsoft.com/office/drawing/2014/main" id="{C7E008ED-6A19-C14B-F706-7A3551AE27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" y="4720654"/>
            <a:ext cx="7772400" cy="126956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972289F5-11E4-67E9-5272-92D79186DEF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0971" y="3365437"/>
            <a:ext cx="5334057" cy="11341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210721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8757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06972" y="993228"/>
            <a:ext cx="11146116" cy="498085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Key Requirement of adding a new rating and view the existing rating of a product(Product DB dataset)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Users can view reviews and add star ratings by providing in range of 1 to 5 along with a com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	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Postman outpu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95E78FBC-5EA7-65E1-77AD-5A4A13AB51E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055" y="1989814"/>
            <a:ext cx="3011705" cy="180457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0" name="Picture 9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17DBD45B-CDD8-66F0-008F-F7B2F75F3D1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85" y="4340473"/>
            <a:ext cx="3056875" cy="203278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" name="Picture 5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68C5AD5C-6A76-90FE-103F-D71EC1FE6F3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222" y="2345414"/>
            <a:ext cx="4581018" cy="33137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07303AD-1377-1B4B-4163-C447C43DFEFC}"/>
              </a:ext>
            </a:extLst>
          </p:cNvPr>
          <p:cNvSpPr txBox="1"/>
          <p:nvPr/>
        </p:nvSpPr>
        <p:spPr>
          <a:xfrm>
            <a:off x="6569973" y="5745072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Logics</a:t>
            </a:r>
          </a:p>
        </p:txBody>
      </p:sp>
    </p:spTree>
    <p:extLst>
      <p:ext uri="{BB962C8B-B14F-4D97-AF65-F5344CB8AC3E}">
        <p14:creationId xmlns:p14="http://schemas.microsoft.com/office/powerpoint/2010/main" val="17872665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6718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06972" y="993228"/>
            <a:ext cx="10503776" cy="217669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Exception Handling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Handled exceptions for use cases where the entered product code is not available, displaying the error message "No product found.“</a:t>
            </a: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Managed exceptions for situations where the entered rating is not available, presenting the error message "No rating found.“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If there is no approval status, the system communicates that the "Review is not yet approved.“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1CC9E447-54F9-B515-E271-615153CACD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814" y="2935986"/>
            <a:ext cx="4466907" cy="194079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screenshot of a black screen&#10;&#10;Description automatically generated">
            <a:extLst>
              <a:ext uri="{FF2B5EF4-FFF2-40B4-BE49-F238E27FC236}">
                <a16:creationId xmlns:a16="http://schemas.microsoft.com/office/drawing/2014/main" id="{C7CB06CB-2E58-DBCE-F351-F84B074865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3031" y="3740699"/>
            <a:ext cx="3717290" cy="22721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A screenshot of a computer&#10;&#10;Description automatically generated">
            <a:extLst>
              <a:ext uri="{FF2B5EF4-FFF2-40B4-BE49-F238E27FC236}">
                <a16:creationId xmlns:a16="http://schemas.microsoft.com/office/drawing/2014/main" id="{21C59B2F-C933-1F5D-9E4D-AAE8F130D2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7281" y="2717953"/>
            <a:ext cx="3721916" cy="36553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0804870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986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528810" y="1706879"/>
            <a:ext cx="11146116" cy="47721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Addressed scenarios where a user attempts to post a review without providing an email ID, resulting in an exception labeled "No user details found.“</a:t>
            </a: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When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both email ID and approval status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are provided, the review is published in main DB, and a notification is sent to the user confirming the successful posting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New reviews are initially stored in a temporary database, and upon approval, they are transferred to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a permanent database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, subsequently being deleted from the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temporary database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30D8B3DC-8BAB-FFA5-ECB7-8E103C25F3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054" y="3255518"/>
            <a:ext cx="3502914" cy="31161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A close-up of a logo&#10;&#10;Description automatically generated">
            <a:extLst>
              <a:ext uri="{FF2B5EF4-FFF2-40B4-BE49-F238E27FC236}">
                <a16:creationId xmlns:a16="http://schemas.microsoft.com/office/drawing/2014/main" id="{2351BC0F-67F4-D7DC-ABA9-DB11B0D315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5834" y="4613831"/>
            <a:ext cx="4890509" cy="76105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7989BAD-8073-142A-F9C6-B770688F8F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5834" y="3734811"/>
            <a:ext cx="5041901" cy="5719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9687697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6413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95739" y="2168995"/>
            <a:ext cx="10422892" cy="167970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Enhanced security by not directly exposing MongoDB credentials in the URI; instead,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credentials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are passed securely through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environment variables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.</a:t>
            </a:r>
            <a:br>
              <a:rPr lang="en-US" b="1" dirty="0">
                <a:solidFill>
                  <a:srgbClr val="374151"/>
                </a:solidFill>
                <a:latin typeface="Söhne"/>
              </a:rPr>
            </a:b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Converted the Spring Boot application into a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image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, making it globally accessible by hosting it on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Hub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. Image: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  <a:hlinkClick r:id="rId2"/>
              </a:rPr>
              <a:t>https://hub.docker.com/r/danicoolbug/cusreviewhub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4" name="Picture 3" descr="A computer screen shot of a number of words&#10;&#10;Description automatically generated with medium confidence">
            <a:extLst>
              <a:ext uri="{FF2B5EF4-FFF2-40B4-BE49-F238E27FC236}">
                <a16:creationId xmlns:a16="http://schemas.microsoft.com/office/drawing/2014/main" id="{E5DA0B03-93BE-0C90-3D90-936B75BC84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69" y="2038199"/>
            <a:ext cx="4013200" cy="8763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46936295-75A0-CA32-A069-813C0A00B95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69" y="4070514"/>
            <a:ext cx="7772400" cy="14439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976084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8750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95739" y="4979267"/>
            <a:ext cx="10422892" cy="10821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Implemented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12 JUnit testing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for both new and approved comments to ensure robust testing practice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Implemented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slf4j logger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functionality and directed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logs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to a separate file and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actuator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for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monitoring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services for effective troubleshooting in case of issues.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142225B0-16A8-8FF4-21ED-8BD341832D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185" y="1553577"/>
            <a:ext cx="6340094" cy="16886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9FFE5B00-57D9-9DAA-B860-73BFAC30BA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232" y="4232048"/>
            <a:ext cx="6816366" cy="17332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96D0B00F-25B4-2F17-5CEE-57D2A31CE35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810" y="5229651"/>
            <a:ext cx="6056888" cy="14712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5031283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95739" y="2527543"/>
            <a:ext cx="10422892" cy="353386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ed </a:t>
            </a:r>
            <a:r>
              <a:rPr lang="en-US" b="1" dirty="0" err="1">
                <a:solidFill>
                  <a:srgbClr val="374151"/>
                </a:solidFill>
                <a:latin typeface="Söhne"/>
              </a:rPr>
              <a:t>SonarLint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tool to detect bugs, code smells and security vulnerabiliti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Scenario 1: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Persistent entities should not be used as arguments of "@</a:t>
            </a:r>
            <a:r>
              <a:rPr lang="en-US" b="1" i="0" dirty="0" err="1">
                <a:solidFill>
                  <a:srgbClr val="374151"/>
                </a:solidFill>
                <a:effectLst/>
                <a:latin typeface="Söhne"/>
              </a:rPr>
              <a:t>RequestMapping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" methods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By accepting persistent entities as method arguments, the application allows clients to manipulate the object’s properties directly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So, the Attackers could forge malicious HTTP requests that will alter unexpected properties of persistent objects. This can lead to unauthorized modifications of the entity’s state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lvl="1"/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AB1AF0-9805-E736-8D2A-535C2FA8F8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355"/>
          <a:stretch/>
        </p:blipFill>
        <p:spPr>
          <a:xfrm>
            <a:off x="431801" y="3429000"/>
            <a:ext cx="4847566" cy="25310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DCA756-B20C-DDF6-451B-13967CA0D9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1994" y="3429000"/>
            <a:ext cx="6438187" cy="253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18292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372234" y="2451900"/>
            <a:ext cx="10746397" cy="360950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Scenario 2: MongoDB database passwords should not be disclosed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Secret leaks often occur when a sensitive piece of authentication data is stored with the source code of an application.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Considering the source code is intended to be deployed across multiple assets, including source code repositories or application hosting servers, the secrets might get exposed to an unintended audience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So, We have passed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US" sz="1600" b="1" i="0" dirty="0">
                <a:solidFill>
                  <a:srgbClr val="374151"/>
                </a:solidFill>
                <a:effectLst/>
                <a:latin typeface="Söhne"/>
              </a:rPr>
              <a:t>credentials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 securely through </a:t>
            </a:r>
            <a:r>
              <a:rPr lang="en-US" sz="1600" b="1" i="0" dirty="0">
                <a:solidFill>
                  <a:srgbClr val="374151"/>
                </a:solidFill>
                <a:effectLst/>
                <a:latin typeface="Söhne"/>
              </a:rPr>
              <a:t>environment variables</a:t>
            </a:r>
            <a:r>
              <a:rPr lang="en-US" sz="1600" b="1" dirty="0">
                <a:solidFill>
                  <a:srgbClr val="374151"/>
                </a:solidFill>
                <a:latin typeface="Söhne"/>
              </a:rPr>
              <a:t>.</a:t>
            </a:r>
            <a:br>
              <a:rPr lang="en-US" sz="1600" b="1" dirty="0">
                <a:solidFill>
                  <a:srgbClr val="374151"/>
                </a:solidFill>
                <a:latin typeface="Söhne"/>
              </a:rPr>
            </a:br>
            <a:endParaRPr lang="en-US" sz="1600" b="1" dirty="0">
              <a:solidFill>
                <a:srgbClr val="374151"/>
              </a:solidFill>
              <a:latin typeface="Söhne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374151"/>
              </a:solidFill>
              <a:latin typeface="Söhne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374151"/>
              </a:solidFill>
              <a:latin typeface="Söhne"/>
            </a:endParaRPr>
          </a:p>
          <a:p>
            <a:pPr lvl="1"/>
            <a:endParaRPr lang="en-US" dirty="0">
              <a:solidFill>
                <a:srgbClr val="374151"/>
              </a:solidFill>
              <a:latin typeface="Söhne"/>
            </a:endParaRPr>
          </a:p>
          <a:p>
            <a:pPr lvl="1"/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62951D-C48A-E6D5-4CBB-A692D2060E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810" y="2799389"/>
            <a:ext cx="6217047" cy="28422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computer screen shot of a number of words&#10;&#10;Description automatically generated with medium confidence">
            <a:extLst>
              <a:ext uri="{FF2B5EF4-FFF2-40B4-BE49-F238E27FC236}">
                <a16:creationId xmlns:a16="http://schemas.microsoft.com/office/drawing/2014/main" id="{600D9CF0-1636-276A-B185-9C53D980E3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649" y="2799389"/>
            <a:ext cx="4013200" cy="8763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8469465-99E0-B430-9D65-28E7EFD4CD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0115" y="5185104"/>
            <a:ext cx="7329068" cy="8763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88861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13110" y="235334"/>
            <a:ext cx="11024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am introduction &gt;&gt; TEAM 9 - </a:t>
            </a:r>
            <a:r>
              <a:rPr lang="en-US" sz="2400" b="1"/>
              <a:t>Customer Rating &amp; Experienc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16DA2757-D9EF-26A4-B379-CB6DDD0C834B}"/>
              </a:ext>
            </a:extLst>
          </p:cNvPr>
          <p:cNvSpPr/>
          <p:nvPr/>
        </p:nvSpPr>
        <p:spPr>
          <a:xfrm>
            <a:off x="648233" y="1288974"/>
            <a:ext cx="4967376" cy="13548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b="1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IN" b="1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IN" b="1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r>
              <a:rPr lang="en-IN" b="1">
                <a:solidFill>
                  <a:schemeClr val="tx1"/>
                </a:solidFill>
                <a:latin typeface="Book Antiqua" panose="02040602050305030304" pitchFamily="18" charset="0"/>
              </a:rPr>
              <a:t>Rajesh Ramakrishnan    </a:t>
            </a:r>
            <a:r>
              <a:rPr lang="en-IN">
                <a:solidFill>
                  <a:schemeClr val="tx1"/>
                </a:solidFill>
                <a:latin typeface="Book Antiqua" panose="02040602050305030304" pitchFamily="18" charset="0"/>
              </a:rPr>
              <a:t> </a:t>
            </a:r>
          </a:p>
          <a:p>
            <a:pPr algn="r"/>
            <a:r>
              <a:rPr lang="en-IN">
                <a:solidFill>
                  <a:schemeClr val="tx1"/>
                </a:solidFill>
                <a:latin typeface="Book Antiqua" panose="02040602050305030304" pitchFamily="18" charset="0"/>
              </a:rPr>
              <a:t>Senior Network Security </a:t>
            </a:r>
          </a:p>
          <a:p>
            <a:pPr algn="r"/>
            <a:r>
              <a:rPr lang="en-IN">
                <a:solidFill>
                  <a:schemeClr val="tx1"/>
                </a:solidFill>
                <a:latin typeface="Book Antiqua" panose="02040602050305030304" pitchFamily="18" charset="0"/>
              </a:rPr>
              <a:t>&amp; Load Balancer SME</a:t>
            </a:r>
          </a:p>
          <a:p>
            <a:pPr algn="r"/>
            <a:r>
              <a:rPr lang="en-IN" b="1">
                <a:solidFill>
                  <a:schemeClr val="tx1"/>
                </a:solidFill>
              </a:rPr>
              <a:t> </a:t>
            </a:r>
            <a:endParaRPr lang="en-IN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6CE74C-7B04-7443-405B-065AFA62DA26}"/>
              </a:ext>
            </a:extLst>
          </p:cNvPr>
          <p:cNvSpPr/>
          <p:nvPr/>
        </p:nvSpPr>
        <p:spPr>
          <a:xfrm>
            <a:off x="648233" y="2762301"/>
            <a:ext cx="4967376" cy="1333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US" b="1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r>
              <a:rPr lang="en-US" b="1">
                <a:solidFill>
                  <a:schemeClr val="tx1"/>
                </a:solidFill>
                <a:latin typeface="Book Antiqua" panose="02040602050305030304" pitchFamily="18" charset="0"/>
              </a:rPr>
              <a:t>Swetha </a:t>
            </a:r>
            <a:r>
              <a:rPr lang="en-US" b="1" err="1">
                <a:solidFill>
                  <a:schemeClr val="tx1"/>
                </a:solidFill>
                <a:latin typeface="Book Antiqua" panose="02040602050305030304" pitchFamily="18" charset="0"/>
              </a:rPr>
              <a:t>Gothandaraman</a:t>
            </a:r>
            <a:br>
              <a:rPr lang="en-US">
                <a:solidFill>
                  <a:schemeClr val="tx1"/>
                </a:solidFill>
                <a:latin typeface="Book Antiqua" panose="02040602050305030304" pitchFamily="18" charset="0"/>
              </a:rPr>
            </a:br>
            <a:r>
              <a:rPr lang="en-US" err="1">
                <a:solidFill>
                  <a:schemeClr val="tx1"/>
                </a:solidFill>
                <a:latin typeface="Book Antiqua" panose="02040602050305030304" pitchFamily="18" charset="0"/>
              </a:rPr>
              <a:t>Dataops</a:t>
            </a:r>
            <a:r>
              <a:rPr lang="en-US">
                <a:solidFill>
                  <a:schemeClr val="tx1"/>
                </a:solidFill>
                <a:latin typeface="Book Antiqua" panose="02040602050305030304" pitchFamily="18" charset="0"/>
              </a:rPr>
              <a:t> - Bedrock</a:t>
            </a:r>
            <a:endParaRPr lang="en-US" b="1">
              <a:solidFill>
                <a:schemeClr val="tx1"/>
              </a:solidFill>
              <a:latin typeface="Book Antiqua" panose="02040602050305030304" pitchFamily="18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D54E414-F374-0694-2ECB-EC8B023654F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36" y="1288974"/>
            <a:ext cx="1377416" cy="135483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21C5F34-E823-7D83-FD58-C9586876262F}"/>
              </a:ext>
            </a:extLst>
          </p:cNvPr>
          <p:cNvSpPr/>
          <p:nvPr/>
        </p:nvSpPr>
        <p:spPr>
          <a:xfrm>
            <a:off x="664236" y="4214191"/>
            <a:ext cx="4951373" cy="1333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US" b="1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r>
              <a:rPr lang="en-US" b="1">
                <a:solidFill>
                  <a:schemeClr val="tx1"/>
                </a:solidFill>
                <a:latin typeface="Book Antiqua" panose="02040602050305030304" pitchFamily="18" charset="0"/>
              </a:rPr>
              <a:t>Prasath Elumalai(Front End)</a:t>
            </a:r>
          </a:p>
          <a:p>
            <a:pPr algn="r"/>
            <a:r>
              <a:rPr lang="en-US">
                <a:solidFill>
                  <a:schemeClr val="tx1"/>
                </a:solidFill>
                <a:latin typeface="Book Antiqua" panose="02040602050305030304" pitchFamily="18" charset="0"/>
              </a:rPr>
              <a:t>Technology Services Engineer III</a:t>
            </a:r>
            <a:endParaRPr lang="en-IN">
              <a:solidFill>
                <a:schemeClr val="tx1"/>
              </a:solidFill>
              <a:latin typeface="Book Antiqua" panose="0204060205030503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5D9003E-93CF-62AC-7911-E389064FC869}"/>
              </a:ext>
            </a:extLst>
          </p:cNvPr>
          <p:cNvSpPr/>
          <p:nvPr/>
        </p:nvSpPr>
        <p:spPr>
          <a:xfrm>
            <a:off x="6096521" y="1291534"/>
            <a:ext cx="4985609" cy="1333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b="1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IN" b="1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IN" b="1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r>
              <a:rPr lang="en-IN" b="1">
                <a:solidFill>
                  <a:schemeClr val="tx1"/>
                </a:solidFill>
                <a:latin typeface="Book Antiqua" panose="02040602050305030304" pitchFamily="18" charset="0"/>
              </a:rPr>
              <a:t>Sridhar </a:t>
            </a:r>
            <a:r>
              <a:rPr lang="en-IN" b="1" err="1">
                <a:solidFill>
                  <a:schemeClr val="tx1"/>
                </a:solidFill>
                <a:latin typeface="Book Antiqua" panose="02040602050305030304" pitchFamily="18" charset="0"/>
              </a:rPr>
              <a:t>Thiruppathi</a:t>
            </a:r>
            <a:r>
              <a:rPr lang="en-IN" b="1">
                <a:solidFill>
                  <a:schemeClr val="tx1"/>
                </a:solidFill>
                <a:latin typeface="Book Antiqua" panose="02040602050305030304" pitchFamily="18" charset="0"/>
              </a:rPr>
              <a:t>     </a:t>
            </a:r>
          </a:p>
          <a:p>
            <a:pPr algn="r"/>
            <a:r>
              <a:rPr lang="en-US">
                <a:solidFill>
                  <a:schemeClr val="tx1"/>
                </a:solidFill>
                <a:latin typeface="Book Antiqua" panose="02040602050305030304" pitchFamily="18" charset="0"/>
              </a:rPr>
              <a:t>Technical Service Engineer III </a:t>
            </a:r>
            <a:endParaRPr lang="en-IN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IN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157DFE-038F-2332-990C-25B8D12A49C1}"/>
              </a:ext>
            </a:extLst>
          </p:cNvPr>
          <p:cNvSpPr/>
          <p:nvPr/>
        </p:nvSpPr>
        <p:spPr>
          <a:xfrm>
            <a:off x="6095480" y="2762301"/>
            <a:ext cx="4967376" cy="1333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b="1">
              <a:solidFill>
                <a:schemeClr val="tx1"/>
              </a:solidFill>
            </a:endParaRPr>
          </a:p>
          <a:p>
            <a:pPr algn="r"/>
            <a:endParaRPr lang="en-IN" b="1">
              <a:solidFill>
                <a:schemeClr val="tx1"/>
              </a:solidFill>
            </a:endParaRPr>
          </a:p>
          <a:p>
            <a:pPr algn="r"/>
            <a:r>
              <a:rPr lang="en-IN" b="1" err="1">
                <a:solidFill>
                  <a:schemeClr val="tx1"/>
                </a:solidFill>
              </a:rPr>
              <a:t>Yogapriya</a:t>
            </a:r>
            <a:r>
              <a:rPr lang="en-IN" b="1">
                <a:solidFill>
                  <a:schemeClr val="tx1"/>
                </a:solidFill>
              </a:rPr>
              <a:t> </a:t>
            </a:r>
            <a:r>
              <a:rPr lang="en-IN" b="1" err="1">
                <a:solidFill>
                  <a:schemeClr val="tx1"/>
                </a:solidFill>
              </a:rPr>
              <a:t>Rajavelu</a:t>
            </a:r>
            <a:endParaRPr lang="en-IN" b="1">
              <a:solidFill>
                <a:schemeClr val="tx1"/>
              </a:solidFill>
            </a:endParaRPr>
          </a:p>
          <a:p>
            <a:pPr algn="r"/>
            <a:r>
              <a:rPr lang="en-US">
                <a:solidFill>
                  <a:schemeClr val="tx1"/>
                </a:solidFill>
                <a:latin typeface="Book Antiqua" panose="02040602050305030304" pitchFamily="18" charset="0"/>
              </a:rPr>
              <a:t>Technology Services Engineer III</a:t>
            </a:r>
            <a:endParaRPr lang="en-IN">
              <a:solidFill>
                <a:schemeClr val="tx1"/>
              </a:solidFill>
              <a:latin typeface="Book Antiqua" panose="0204060205030503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90D475-AB78-4472-46D6-2B56A33E89A2}"/>
              </a:ext>
            </a:extLst>
          </p:cNvPr>
          <p:cNvSpPr/>
          <p:nvPr/>
        </p:nvSpPr>
        <p:spPr>
          <a:xfrm>
            <a:off x="6095480" y="4199946"/>
            <a:ext cx="4951373" cy="1333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b="1" err="1">
                <a:solidFill>
                  <a:schemeClr val="tx1"/>
                </a:solidFill>
                <a:latin typeface="Book Antiqua" panose="02040602050305030304" pitchFamily="18" charset="0"/>
              </a:rPr>
              <a:t>Lingaraj</a:t>
            </a:r>
            <a:r>
              <a:rPr lang="en-US" b="1">
                <a:solidFill>
                  <a:schemeClr val="tx1"/>
                </a:solidFill>
                <a:latin typeface="Book Antiqua" panose="02040602050305030304" pitchFamily="18" charset="0"/>
              </a:rPr>
              <a:t> MK</a:t>
            </a:r>
            <a:br>
              <a:rPr lang="en-US" b="1">
                <a:solidFill>
                  <a:schemeClr val="tx1"/>
                </a:solidFill>
                <a:latin typeface="Book Antiqua" panose="02040602050305030304" pitchFamily="18" charset="0"/>
              </a:rPr>
            </a:br>
            <a:r>
              <a:rPr lang="en-US" b="1">
                <a:solidFill>
                  <a:schemeClr val="tx1"/>
                </a:solidFill>
                <a:latin typeface="Book Antiqua" panose="02040602050305030304" pitchFamily="18" charset="0"/>
              </a:rPr>
              <a:t>(Front End - Shared resource)</a:t>
            </a:r>
          </a:p>
          <a:p>
            <a:pPr algn="r"/>
            <a:r>
              <a:rPr lang="en-IN" b="0" i="0">
                <a:solidFill>
                  <a:srgbClr val="1D1C1D"/>
                </a:solidFill>
                <a:effectLst/>
                <a:latin typeface="Slack-Lato"/>
              </a:rPr>
              <a:t>SENIOR ANALYST </a:t>
            </a:r>
            <a:br>
              <a:rPr lang="en-IN" b="0" i="0">
                <a:solidFill>
                  <a:srgbClr val="1D1C1D"/>
                </a:solidFill>
                <a:effectLst/>
                <a:latin typeface="Slack-Lato"/>
              </a:rPr>
            </a:br>
            <a:r>
              <a:rPr lang="en-IN" b="0" i="0">
                <a:solidFill>
                  <a:srgbClr val="1D1C1D"/>
                </a:solidFill>
                <a:effectLst/>
                <a:latin typeface="Slack-Lato"/>
              </a:rPr>
              <a:t>TECHNOLOGY SERVICES ENGINEERING</a:t>
            </a:r>
            <a:endParaRPr lang="en-IN">
              <a:solidFill>
                <a:schemeClr val="tx1"/>
              </a:solidFill>
              <a:latin typeface="Book Antiqua" panose="02040602050305030304" pitchFamily="18" charset="0"/>
            </a:endParaRPr>
          </a:p>
        </p:txBody>
      </p:sp>
      <p:pic>
        <p:nvPicPr>
          <p:cNvPr id="19" name="Picture 18" descr="A person sitting in a chair&#10;&#10;Description automatically generated">
            <a:extLst>
              <a:ext uri="{FF2B5EF4-FFF2-40B4-BE49-F238E27FC236}">
                <a16:creationId xmlns:a16="http://schemas.microsoft.com/office/drawing/2014/main" id="{8D8C7ADD-557C-3613-0D0B-546C0242EDF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3735" y="2762301"/>
            <a:ext cx="1302389" cy="133339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7CCE3FB-99B0-C0D8-4872-1DD48E853A1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36" y="4214190"/>
            <a:ext cx="1293773" cy="1324577"/>
          </a:xfrm>
          <a:prstGeom prst="rect">
            <a:avLst/>
          </a:prstGeom>
        </p:spPr>
      </p:pic>
      <p:pic>
        <p:nvPicPr>
          <p:cNvPr id="23" name="Picture 22" descr="A person wearing glasses and a blue suit&#10;&#10;Description automatically generated">
            <a:extLst>
              <a:ext uri="{FF2B5EF4-FFF2-40B4-BE49-F238E27FC236}">
                <a16:creationId xmlns:a16="http://schemas.microsoft.com/office/drawing/2014/main" id="{57ACCBE8-D096-B9EE-C0FD-D4F663D37B0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451" y="4208767"/>
            <a:ext cx="1293773" cy="132457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1E8BB80-EB6B-D562-60FD-B49B8CD7649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36" y="2762301"/>
            <a:ext cx="1302389" cy="1333398"/>
          </a:xfrm>
          <a:prstGeom prst="rect">
            <a:avLst/>
          </a:prstGeom>
        </p:spPr>
      </p:pic>
      <p:pic>
        <p:nvPicPr>
          <p:cNvPr id="27" name="Picture 26" descr="A person with a beard&#10;&#10;Description automatically generated">
            <a:extLst>
              <a:ext uri="{FF2B5EF4-FFF2-40B4-BE49-F238E27FC236}">
                <a16:creationId xmlns:a16="http://schemas.microsoft.com/office/drawing/2014/main" id="{7D06C6AC-64DE-2920-0C05-5A4B2DE7E7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480" y="1314105"/>
            <a:ext cx="1330644" cy="1318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55796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71463" y="4472971"/>
            <a:ext cx="10422892" cy="1222201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ing </a:t>
            </a:r>
            <a:r>
              <a:rPr lang="en-US" dirty="0" err="1">
                <a:solidFill>
                  <a:srgbClr val="374151"/>
                </a:solidFill>
                <a:latin typeface="Söhne"/>
              </a:rPr>
              <a:t>AppMap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tool(runtime code analysis tool) in IntelliJ IDEA, we are able to generate dependency map, Sequence diagram, flame graph for each use case in </a:t>
            </a:r>
            <a:r>
              <a:rPr lang="en-US" dirty="0" err="1">
                <a:solidFill>
                  <a:srgbClr val="374151"/>
                </a:solidFill>
                <a:latin typeface="Söhne"/>
              </a:rPr>
              <a:t>springboot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project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148643D3-32B5-7AC2-2121-862EC3FA863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6021" y="3719531"/>
            <a:ext cx="2864647" cy="27216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8B014288-81F6-B822-1966-5C0A4789D73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264" y="3729964"/>
            <a:ext cx="1878076" cy="27007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2E92D7F-A926-B680-8CC0-9461D03D0443}"/>
              </a:ext>
            </a:extLst>
          </p:cNvPr>
          <p:cNvSpPr txBox="1"/>
          <p:nvPr/>
        </p:nvSpPr>
        <p:spPr>
          <a:xfrm>
            <a:off x="939453" y="4259460"/>
            <a:ext cx="45718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Integrated CICD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pipeline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with </a:t>
            </a:r>
            <a:r>
              <a:rPr lang="en-US" b="1" dirty="0" err="1">
                <a:solidFill>
                  <a:srgbClr val="374151"/>
                </a:solidFill>
                <a:latin typeface="Söhne"/>
              </a:rPr>
              <a:t>GitWorkflow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for streamlined processes, including testing, creating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images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, and updating new versions in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Hub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dirty="0"/>
          </a:p>
        </p:txBody>
      </p:sp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99312046-054D-065F-EA6E-FA5C6FED1AB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9825" y="1598527"/>
            <a:ext cx="5083637" cy="16886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C170A930-7EBA-9F32-1E82-56EEACD5C69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003" y="1309600"/>
            <a:ext cx="3147979" cy="19388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915527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ontEnd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22CB8A8-43A9-13D5-2F59-650B0AC24AEA}"/>
              </a:ext>
            </a:extLst>
          </p:cNvPr>
          <p:cNvSpPr txBox="1"/>
          <p:nvPr/>
        </p:nvSpPr>
        <p:spPr>
          <a:xfrm>
            <a:off x="833119" y="1310640"/>
            <a:ext cx="616649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nt End page provides user the option to </a:t>
            </a:r>
            <a:br>
              <a:rPr lang="en-US" dirty="0"/>
            </a:br>
            <a:r>
              <a:rPr lang="en-US" dirty="0"/>
              <a:t>add new Star Rating for the purchased product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 can enter the product review in the comment </a:t>
            </a:r>
            <a:br>
              <a:rPr lang="en-US" dirty="0"/>
            </a:br>
            <a:r>
              <a:rPr lang="en-US" dirty="0"/>
              <a:t>section to share their experi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trieve images from Product DB to display </a:t>
            </a:r>
            <a:br>
              <a:rPr lang="en-US" dirty="0"/>
            </a:br>
            <a:r>
              <a:rPr lang="en-US" dirty="0"/>
              <a:t>in p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17E1F0-DEA3-1E35-9875-FB973C51BB55}"/>
              </a:ext>
            </a:extLst>
          </p:cNvPr>
          <p:cNvSpPr txBox="1"/>
          <p:nvPr/>
        </p:nvSpPr>
        <p:spPr>
          <a:xfrm>
            <a:off x="5567680" y="4568231"/>
            <a:ext cx="556434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 review is subjected to validation by Admins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pproved, user comment is added to main DB &amp;</a:t>
            </a:r>
            <a:br>
              <a:rPr lang="en-US" dirty="0"/>
            </a:br>
            <a:r>
              <a:rPr lang="en-US" dirty="0"/>
              <a:t>entry deleted from the temporary D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rejected, user is notified though email.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F5212655-470F-6FFF-FB13-1BC9138E0D5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994" y="1144018"/>
            <a:ext cx="3776030" cy="27802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42AB57E6-8275-8075-850A-2D88C2D5565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110" y="3659897"/>
            <a:ext cx="4341378" cy="27133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60429289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59347-EEA9-6931-AA1E-84BEDF912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ontEnd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]</a:t>
            </a:r>
            <a:br>
              <a:rPr lang="en-IN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sz="2400" dirty="0"/>
          </a:p>
        </p:txBody>
      </p:sp>
      <p:pic>
        <p:nvPicPr>
          <p:cNvPr id="6" name="Content Placeholder 5" descr="A screen shot of a computer&#10;&#10;Description automatically generated">
            <a:extLst>
              <a:ext uri="{FF2B5EF4-FFF2-40B4-BE49-F238E27FC236}">
                <a16:creationId xmlns:a16="http://schemas.microsoft.com/office/drawing/2014/main" id="{4C8C8D0A-4459-7496-90C3-D467050570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193" y="3818926"/>
            <a:ext cx="4046443" cy="23128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E7814C-36BD-2E6B-F5C5-39281C3D5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2</a:t>
            </a:fld>
            <a:endParaRPr lang="en-IN"/>
          </a:p>
        </p:txBody>
      </p:sp>
      <p:pic>
        <p:nvPicPr>
          <p:cNvPr id="8" name="Picture 7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0E75BFD0-F16A-44B1-2D25-D7ABFB2E209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2154" y="4239711"/>
            <a:ext cx="5077099" cy="196431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0" name="Picture 9" descr="A computer code with text&#10;&#10;Description automatically generated with medium confidence">
            <a:extLst>
              <a:ext uri="{FF2B5EF4-FFF2-40B4-BE49-F238E27FC236}">
                <a16:creationId xmlns:a16="http://schemas.microsoft.com/office/drawing/2014/main" id="{E92385EE-4AF4-EECA-D904-10CB77E86EE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949" y="984294"/>
            <a:ext cx="5252137" cy="179119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570070D-1E19-2BC6-12E8-2DD0E793C784}"/>
              </a:ext>
            </a:extLst>
          </p:cNvPr>
          <p:cNvSpPr txBox="1"/>
          <p:nvPr/>
        </p:nvSpPr>
        <p:spPr>
          <a:xfrm>
            <a:off x="493209" y="984294"/>
            <a:ext cx="301873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uting Logics</a:t>
            </a:r>
            <a:br>
              <a:rPr lang="en-US" dirty="0"/>
            </a:br>
            <a:br>
              <a:rPr lang="en-US" dirty="0"/>
            </a:br>
            <a:r>
              <a:rPr lang="en-IN" dirty="0">
                <a:solidFill>
                  <a:srgbClr val="040C28"/>
                </a:solidFill>
                <a:latin typeface="Google Sans"/>
              </a:rPr>
              <a:t>T</a:t>
            </a:r>
            <a:r>
              <a:rPr lang="en-IN" b="0" i="0" dirty="0">
                <a:solidFill>
                  <a:srgbClr val="040C28"/>
                </a:solidFill>
                <a:effectLst/>
                <a:latin typeface="Google Sans"/>
              </a:rPr>
              <a:t>echnology for switching between different UI views, based on the changes of the current URL. 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F9EB0A-174F-B69C-8E53-6CA40E0B014E}"/>
              </a:ext>
            </a:extLst>
          </p:cNvPr>
          <p:cNvSpPr txBox="1"/>
          <p:nvPr/>
        </p:nvSpPr>
        <p:spPr>
          <a:xfrm>
            <a:off x="493209" y="3244334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nt end Logics</a:t>
            </a:r>
          </a:p>
        </p:txBody>
      </p:sp>
    </p:spTree>
    <p:extLst>
      <p:ext uri="{BB962C8B-B14F-4D97-AF65-F5344CB8AC3E}">
        <p14:creationId xmlns:p14="http://schemas.microsoft.com/office/powerpoint/2010/main" val="345914546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4B50B-60ED-1C6D-45A6-B97ABD25E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ontend Response</a:t>
            </a:r>
          </a:p>
        </p:txBody>
      </p:sp>
      <p:pic>
        <p:nvPicPr>
          <p:cNvPr id="13" name="Content Placeholder 12" descr="A screenshot of a computer&#10;&#10;Description automatically generated">
            <a:extLst>
              <a:ext uri="{FF2B5EF4-FFF2-40B4-BE49-F238E27FC236}">
                <a16:creationId xmlns:a16="http://schemas.microsoft.com/office/drawing/2014/main" id="{5A6639A9-FAAA-7D0D-449C-2874F4A3A4F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14" y="692257"/>
            <a:ext cx="4512658" cy="282041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B9A105-9985-A6E6-97F7-CFB9EE6C9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3</a:t>
            </a:fld>
            <a:endParaRPr lang="en-IN"/>
          </a:p>
        </p:txBody>
      </p:sp>
      <p:pic>
        <p:nvPicPr>
          <p:cNvPr id="15" name="Picture 14" descr="A screenshot of a computer&#10;&#10;Description automatically generated">
            <a:extLst>
              <a:ext uri="{FF2B5EF4-FFF2-40B4-BE49-F238E27FC236}">
                <a16:creationId xmlns:a16="http://schemas.microsoft.com/office/drawing/2014/main" id="{C3132BA7-3E83-2BA6-F368-17E8CC7DF09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411" y="453231"/>
            <a:ext cx="4231691" cy="264480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7" name="Picture 16" descr="A close-up of a email&#10;&#10;Description automatically generated">
            <a:extLst>
              <a:ext uri="{FF2B5EF4-FFF2-40B4-BE49-F238E27FC236}">
                <a16:creationId xmlns:a16="http://schemas.microsoft.com/office/drawing/2014/main" id="{C70CFBB7-B129-BAE4-2D97-95B44989F55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14" y="4225143"/>
            <a:ext cx="4599648" cy="22110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9" name="Picture 18" descr="A close-up of a message&#10;&#10;Description automatically generated">
            <a:extLst>
              <a:ext uri="{FF2B5EF4-FFF2-40B4-BE49-F238E27FC236}">
                <a16:creationId xmlns:a16="http://schemas.microsoft.com/office/drawing/2014/main" id="{242DF55F-CF43-F785-78F1-67570BEF88B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411" y="3855811"/>
            <a:ext cx="4486303" cy="23810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B6578D4-7900-3B67-BDE5-2ECF776198AD}"/>
              </a:ext>
            </a:extLst>
          </p:cNvPr>
          <p:cNvSpPr txBox="1"/>
          <p:nvPr/>
        </p:nvSpPr>
        <p:spPr>
          <a:xfrm>
            <a:off x="1280071" y="3671145"/>
            <a:ext cx="2172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Pending approv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1BFF03D-D44E-F4B3-B131-1A0169D9A01E}"/>
              </a:ext>
            </a:extLst>
          </p:cNvPr>
          <p:cNvSpPr txBox="1"/>
          <p:nvPr/>
        </p:nvSpPr>
        <p:spPr>
          <a:xfrm>
            <a:off x="7969536" y="3197034"/>
            <a:ext cx="28777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After Approved/Reject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AABA694-B121-E41B-4218-8FB9605F1FD4}"/>
              </a:ext>
            </a:extLst>
          </p:cNvPr>
          <p:cNvSpPr txBox="1"/>
          <p:nvPr/>
        </p:nvSpPr>
        <p:spPr>
          <a:xfrm>
            <a:off x="914401" y="6436170"/>
            <a:ext cx="34932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Notification while under review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02C2C0-F9B9-06FD-150F-6C06F4F5A171}"/>
              </a:ext>
            </a:extLst>
          </p:cNvPr>
          <p:cNvSpPr txBox="1"/>
          <p:nvPr/>
        </p:nvSpPr>
        <p:spPr>
          <a:xfrm>
            <a:off x="7661793" y="6253147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Notification once approved</a:t>
            </a:r>
          </a:p>
        </p:txBody>
      </p:sp>
    </p:spTree>
    <p:extLst>
      <p:ext uri="{BB962C8B-B14F-4D97-AF65-F5344CB8AC3E}">
        <p14:creationId xmlns:p14="http://schemas.microsoft.com/office/powerpoint/2010/main" val="30788734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7BFB6-6AFC-5AFB-070F-382D491BF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hentication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7627E-34C5-1D06-C238-EEE5DF55E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4</a:t>
            </a:fld>
            <a:endParaRPr lang="en-IN"/>
          </a:p>
        </p:txBody>
      </p:sp>
      <p:pic>
        <p:nvPicPr>
          <p:cNvPr id="5" name="Content Placeholder 4" descr="A diagram of a product&#10;&#10;Description automatically generated">
            <a:extLst>
              <a:ext uri="{FF2B5EF4-FFF2-40B4-BE49-F238E27FC236}">
                <a16:creationId xmlns:a16="http://schemas.microsoft.com/office/drawing/2014/main" id="{91647969-8875-10D5-860C-B570E035CF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713" y="2502821"/>
            <a:ext cx="5257800" cy="205160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9D9A269-B453-CC52-AEBD-567A523D6905}"/>
              </a:ext>
            </a:extLst>
          </p:cNvPr>
          <p:cNvSpPr txBox="1"/>
          <p:nvPr/>
        </p:nvSpPr>
        <p:spPr>
          <a:xfrm>
            <a:off x="797247" y="949680"/>
            <a:ext cx="1102750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uring the below flow only authenticated user can add rating and product revie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 with session expired or non-authenticated user will be redirected to the login scre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lidation is performed using the Session Token generated by Auth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E will add user-id-email header only for Authenticated user which is one of key criteria to add a revie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am1 API: 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http://52.142.30.237:9003/</a:t>
            </a:r>
            <a:r>
              <a:rPr lang="en-IN" b="0" i="0" dirty="0" err="1">
                <a:solidFill>
                  <a:srgbClr val="212121"/>
                </a:solidFill>
                <a:effectLst/>
                <a:latin typeface="Inter"/>
              </a:rPr>
              <a:t>api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/auth/</a:t>
            </a:r>
            <a:r>
              <a:rPr lang="en-IN" b="0" i="0" dirty="0" err="1">
                <a:solidFill>
                  <a:srgbClr val="212121"/>
                </a:solidFill>
                <a:effectLst/>
                <a:latin typeface="Inter"/>
              </a:rPr>
              <a:t>signin</a:t>
            </a:r>
            <a:endParaRPr lang="en-US" dirty="0"/>
          </a:p>
        </p:txBody>
      </p:sp>
      <p:pic>
        <p:nvPicPr>
          <p:cNvPr id="8" name="Picture 7" descr="A screen shot of a computer&#10;&#10;Description automatically generated">
            <a:extLst>
              <a:ext uri="{FF2B5EF4-FFF2-40B4-BE49-F238E27FC236}">
                <a16:creationId xmlns:a16="http://schemas.microsoft.com/office/drawing/2014/main" id="{525B144B-004D-CE70-CF9E-D35F503A5AD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4872294"/>
            <a:ext cx="5472800" cy="19857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7FCAE8DE-43AE-5316-08B2-22C02B1A713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5326" y="3118049"/>
            <a:ext cx="4486256" cy="24238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bg1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6421109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7BFB6-6AFC-5AFB-070F-382D491BF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horiz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7627E-34C5-1D06-C238-EEE5DF55E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5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D9A269-B453-CC52-AEBD-567A523D6905}"/>
              </a:ext>
            </a:extLst>
          </p:cNvPr>
          <p:cNvSpPr txBox="1"/>
          <p:nvPr/>
        </p:nvSpPr>
        <p:spPr>
          <a:xfrm>
            <a:off x="745725" y="594289"/>
            <a:ext cx="1144627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min of the application will be able to moderate the given review to check of vulnerable contents manual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ly Users will admin roles can login and not regular us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til Admin approved the customer rating, it stays only in temporary D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n admin approves customer rating is added to original product DB and deletes the entry in Temp D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dmin Rejected/approves user is notified through email about the each progr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I: 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http://52.142.30.237:9003/</a:t>
            </a:r>
            <a:r>
              <a:rPr lang="en-IN" b="0" i="0" dirty="0" err="1">
                <a:solidFill>
                  <a:srgbClr val="212121"/>
                </a:solidFill>
                <a:effectLst/>
                <a:latin typeface="Inter"/>
              </a:rPr>
              <a:t>api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/test/role</a:t>
            </a:r>
            <a:endParaRPr lang="en-US" dirty="0"/>
          </a:p>
        </p:txBody>
      </p:sp>
      <p:pic>
        <p:nvPicPr>
          <p:cNvPr id="9" name="Content Placeholder 8" descr="A diagram of a system&#10;&#10;Description automatically generated">
            <a:extLst>
              <a:ext uri="{FF2B5EF4-FFF2-40B4-BE49-F238E27FC236}">
                <a16:creationId xmlns:a16="http://schemas.microsoft.com/office/drawing/2014/main" id="{9477020D-ABE9-40BE-9195-E1F63A00CA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4750" y="2878320"/>
            <a:ext cx="3714899" cy="271341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0" name="Picture 9" descr="A diagram of a system&#10;&#10;Description automatically generated">
            <a:extLst>
              <a:ext uri="{FF2B5EF4-FFF2-40B4-BE49-F238E27FC236}">
                <a16:creationId xmlns:a16="http://schemas.microsoft.com/office/drawing/2014/main" id="{CA08329D-B822-6E7E-CCD7-59889F53ADB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52" y="2878320"/>
            <a:ext cx="3466129" cy="252429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1" name="Picture 10" descr="A screenshot of a web page&#10;&#10;Description automatically generated">
            <a:extLst>
              <a:ext uri="{FF2B5EF4-FFF2-40B4-BE49-F238E27FC236}">
                <a16:creationId xmlns:a16="http://schemas.microsoft.com/office/drawing/2014/main" id="{648CDD58-8E07-9F85-8C04-A5B85117F95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001" y="4655876"/>
            <a:ext cx="3466129" cy="18830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bg1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 descr="A screenshot of a computer&#10;&#10;Description automatically generated">
            <a:extLst>
              <a:ext uri="{FF2B5EF4-FFF2-40B4-BE49-F238E27FC236}">
                <a16:creationId xmlns:a16="http://schemas.microsoft.com/office/drawing/2014/main" id="{B2EE94E1-A62F-2F39-1064-A442B3F4F27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4356" y="2348615"/>
            <a:ext cx="3137418" cy="21607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80399521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4EEC19-2B14-156C-EF47-801DBA661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" y="640823"/>
            <a:ext cx="3418659" cy="5583148"/>
          </a:xfrm>
        </p:spPr>
        <p:txBody>
          <a:bodyPr anchor="ctr">
            <a:normAutofit/>
          </a:bodyPr>
          <a:lstStyle/>
          <a:p>
            <a:r>
              <a:rPr lang="en-US" sz="4600"/>
              <a:t>Best Practice in Development  </a:t>
            </a:r>
          </a:p>
        </p:txBody>
      </p:sp>
      <p:sp>
        <p:nvSpPr>
          <p:cNvPr id="32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CA96A8-4A27-19B1-B65D-B0AF1F9CD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1E171E4F-9C74-4E79-BFC0-DC9DF09E65AC}" type="slidenum">
              <a:rPr lang="en-IN"/>
              <a:pPr>
                <a:spcAft>
                  <a:spcPts val="600"/>
                </a:spcAft>
              </a:pPr>
              <a:t>46</a:t>
            </a:fld>
            <a:endParaRPr lang="en-IN"/>
          </a:p>
        </p:txBody>
      </p:sp>
      <p:graphicFrame>
        <p:nvGraphicFramePr>
          <p:cNvPr id="26" name="Content Placeholder 2">
            <a:extLst>
              <a:ext uri="{FF2B5EF4-FFF2-40B4-BE49-F238E27FC236}">
                <a16:creationId xmlns:a16="http://schemas.microsoft.com/office/drawing/2014/main" id="{CD9E048F-FAFB-B612-C9C1-5B987C73A94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370213"/>
              </p:ext>
            </p:extLst>
          </p:nvPr>
        </p:nvGraphicFramePr>
        <p:xfrm>
          <a:off x="4648018" y="640822"/>
          <a:ext cx="6900512" cy="5536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043198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639074" y="30497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s &amp; enhancements – Team9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AFE0FD2-8F30-3D48-A4C6-787FB0EA3647}"/>
              </a:ext>
            </a:extLst>
          </p:cNvPr>
          <p:cNvSpPr txBox="1"/>
          <p:nvPr/>
        </p:nvSpPr>
        <p:spPr>
          <a:xfrm>
            <a:off x="639074" y="492162"/>
            <a:ext cx="103445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effectLst/>
              </a:rPr>
              <a:t>User Engagement:</a:t>
            </a:r>
            <a:endParaRPr lang="en-IN" dirty="0"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Learning:</a:t>
            </a:r>
            <a:r>
              <a:rPr lang="en-IN" dirty="0">
                <a:effectLst/>
              </a:rPr>
              <a:t> analyse user engagement with the rating and feedback featur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Enhancement:</a:t>
            </a:r>
            <a:r>
              <a:rPr lang="en-IN" dirty="0">
                <a:effectLst/>
              </a:rPr>
              <a:t> Implement analytics to track user interactions, identify patterns, and gain insights into user behaviour.</a:t>
            </a:r>
          </a:p>
          <a:p>
            <a:pPr lvl="1"/>
            <a:endParaRPr lang="en-IN" dirty="0">
              <a:effectLst/>
            </a:endParaRPr>
          </a:p>
          <a:p>
            <a:r>
              <a:rPr lang="en-IN" b="1" dirty="0">
                <a:effectLst/>
              </a:rPr>
              <a:t>Feedback Analysis:</a:t>
            </a:r>
            <a:endParaRPr lang="en-IN" dirty="0"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Learning:</a:t>
            </a:r>
            <a:r>
              <a:rPr lang="en-IN" dirty="0">
                <a:effectLst/>
              </a:rPr>
              <a:t> Review and analyse the feedback provided by custome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Enhancement:</a:t>
            </a:r>
            <a:r>
              <a:rPr lang="en-IN" dirty="0">
                <a:effectLst/>
              </a:rPr>
              <a:t> Incorporate sentiment analysis tools(</a:t>
            </a:r>
            <a:r>
              <a:rPr lang="en-IN" dirty="0" err="1">
                <a:effectLst/>
              </a:rPr>
              <a:t>eg</a:t>
            </a:r>
            <a:r>
              <a:rPr lang="en-IN" dirty="0" err="1"/>
              <a:t>.</a:t>
            </a:r>
            <a:r>
              <a:rPr lang="en-IN" dirty="0"/>
              <a:t> </a:t>
            </a:r>
            <a:r>
              <a:rPr lang="en-IN" i="0" dirty="0">
                <a:effectLst/>
              </a:rPr>
              <a:t>Google Cloud Natural Language API</a:t>
            </a:r>
            <a:r>
              <a:rPr lang="en-IN" dirty="0">
                <a:effectLst/>
              </a:rPr>
              <a:t>) to automatically classify feedback into positive, negative, or neutral sentiments.</a:t>
            </a:r>
          </a:p>
          <a:p>
            <a:pPr lvl="1"/>
            <a:endParaRPr lang="en-IN" dirty="0">
              <a:effectLst/>
            </a:endParaRPr>
          </a:p>
          <a:p>
            <a:r>
              <a:rPr lang="en-IN" b="1" dirty="0">
                <a:effectLst/>
              </a:rPr>
              <a:t>Security Concerns:</a:t>
            </a:r>
            <a:endParaRPr lang="en-IN" dirty="0"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Learning:</a:t>
            </a:r>
            <a:r>
              <a:rPr lang="en-IN" dirty="0">
                <a:effectLst/>
              </a:rPr>
              <a:t> security measures taken to protecting customer data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Enhancement:</a:t>
            </a:r>
            <a:r>
              <a:rPr lang="en-IN" dirty="0">
                <a:effectLst/>
              </a:rPr>
              <a:t> Implement secure coding practices, encryption for sensitive data, and regular security audits to identify and address vulnerabilities.</a:t>
            </a:r>
          </a:p>
        </p:txBody>
      </p:sp>
    </p:spTree>
    <p:extLst>
      <p:ext uri="{BB962C8B-B14F-4D97-AF65-F5344CB8AC3E}">
        <p14:creationId xmlns:p14="http://schemas.microsoft.com/office/powerpoint/2010/main" val="3272515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2659FDB4-FCBE-4A89-B46D-43D4FA544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313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FA4530-E43E-F8B3-500B-210F08910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1070800"/>
            <a:ext cx="3939688" cy="5583126"/>
          </a:xfrm>
        </p:spPr>
        <p:txBody>
          <a:bodyPr>
            <a:normAutofit/>
          </a:bodyPr>
          <a:lstStyle/>
          <a:p>
            <a:pPr algn="ctr"/>
            <a:r>
              <a:rPr lang="en-US" sz="6800"/>
              <a:t>Challenges &amp; Learnings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68F4BB-BE8E-3703-ED3F-406CFCC3B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1E171E4F-9C74-4E79-BFC0-DC9DF09E65AC}" type="slidenum">
              <a:rPr lang="en-IN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48</a:t>
            </a:fld>
            <a:endParaRPr lang="en-IN">
              <a:solidFill>
                <a:schemeClr val="tx1">
                  <a:alpha val="60000"/>
                </a:schemeClr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8F51B3F-8331-4E4A-AE96-D47B1006E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28053" y="1132114"/>
            <a:ext cx="0" cy="5717573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C1F6557-C5E1-9DF3-2E49-0566404C965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9196360"/>
              </p:ext>
            </p:extLst>
          </p:nvPr>
        </p:nvGraphicFramePr>
        <p:xfrm>
          <a:off x="5108535" y="1070800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13398434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986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allenges &amp; errors encountered during solution design- Team9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A37084B6-84A2-8482-6126-798BAE7C64B2}"/>
              </a:ext>
            </a:extLst>
          </p:cNvPr>
          <p:cNvSpPr txBox="1"/>
          <p:nvPr/>
        </p:nvSpPr>
        <p:spPr>
          <a:xfrm>
            <a:off x="528810" y="1130358"/>
            <a:ext cx="11469807" cy="4247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ependencies</a:t>
            </a:r>
          </a:p>
          <a:p>
            <a:pPr marL="342900" indent="-342900">
              <a:buAutoNum type="arabicPeriod"/>
            </a:pPr>
            <a:r>
              <a:rPr lang="en-US" b="1" dirty="0"/>
              <a:t>User Authentication Team1</a:t>
            </a:r>
          </a:p>
          <a:p>
            <a:r>
              <a:rPr lang="en-US" dirty="0"/>
              <a:t>As the FQDN name is different for auth and Customer rating the </a:t>
            </a:r>
            <a:br>
              <a:rPr lang="en-US" dirty="0"/>
            </a:br>
            <a:r>
              <a:rPr lang="en-US" dirty="0"/>
              <a:t>session token saved in browser cookie is not passed for subsequent </a:t>
            </a:r>
            <a:br>
              <a:rPr lang="en-US" dirty="0"/>
            </a:br>
            <a:r>
              <a:rPr lang="en-US" dirty="0"/>
              <a:t>connections. If the FQDN is common, then we could use the session </a:t>
            </a:r>
            <a:br>
              <a:rPr lang="en-US" dirty="0"/>
            </a:br>
            <a:r>
              <a:rPr lang="en-US" dirty="0"/>
              <a:t>token to validate the user directly.</a:t>
            </a:r>
          </a:p>
          <a:p>
            <a:endParaRPr lang="en-US" dirty="0"/>
          </a:p>
          <a:p>
            <a:r>
              <a:rPr lang="en-US" dirty="0"/>
              <a:t>2. </a:t>
            </a:r>
            <a:r>
              <a:rPr lang="en-US" b="1" dirty="0"/>
              <a:t>Product Review</a:t>
            </a:r>
            <a:br>
              <a:rPr lang="en-US" dirty="0"/>
            </a:br>
            <a:r>
              <a:rPr lang="en-US" dirty="0"/>
              <a:t>Write a new review as comment using our URI</a:t>
            </a:r>
          </a:p>
          <a:p>
            <a:r>
              <a:rPr lang="en-US" dirty="0"/>
              <a:t>Only Purchased user can write a product comment</a:t>
            </a:r>
          </a:p>
          <a:p>
            <a:endParaRPr lang="en-US" dirty="0"/>
          </a:p>
          <a:p>
            <a:r>
              <a:rPr lang="en-US" dirty="0"/>
              <a:t>3.</a:t>
            </a:r>
            <a:r>
              <a:rPr lang="en-US" b="1" dirty="0"/>
              <a:t>Email notification </a:t>
            </a:r>
            <a:r>
              <a:rPr lang="en-US" dirty="0"/>
              <a:t>is being sent to user at each stage so that the user is aware.</a:t>
            </a:r>
          </a:p>
          <a:p>
            <a:endParaRPr lang="en-US" dirty="0"/>
          </a:p>
          <a:p>
            <a:r>
              <a:rPr lang="en-US" dirty="0"/>
              <a:t>4. </a:t>
            </a:r>
            <a:r>
              <a:rPr lang="en-US" b="1" dirty="0"/>
              <a:t>Front end integration </a:t>
            </a:r>
            <a:r>
              <a:rPr lang="en-US" dirty="0"/>
              <a:t>with backend was very challenging and has been partially completed to add the new </a:t>
            </a:r>
          </a:p>
          <a:p>
            <a:r>
              <a:rPr lang="en-US" dirty="0"/>
              <a:t>Rating and Admin approval page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7095CA-495B-C35D-57A6-812E4DC944B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6939" y="1606700"/>
            <a:ext cx="2989947" cy="15420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208390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4" name="Rectangle 43">
            <a:extLst>
              <a:ext uri="{FF2B5EF4-FFF2-40B4-BE49-F238E27FC236}">
                <a16:creationId xmlns:a16="http://schemas.microsoft.com/office/drawing/2014/main" id="{08953E74-D241-4DDF-8508-F0365EA13A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5C3C901A-B2F4-4A3C-BCDD-7C8D587ECA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0"/>
            <a:ext cx="12192000" cy="2371134"/>
          </a:xfrm>
          <a:custGeom>
            <a:avLst/>
            <a:gdLst>
              <a:gd name="connsiteX0" fmla="*/ 0 w 12192000"/>
              <a:gd name="connsiteY0" fmla="*/ 0 h 2515690"/>
              <a:gd name="connsiteX1" fmla="*/ 170442 w 12192000"/>
              <a:gd name="connsiteY1" fmla="*/ 96074 h 2515690"/>
              <a:gd name="connsiteX2" fmla="*/ 424739 w 12192000"/>
              <a:gd name="connsiteY2" fmla="*/ 224865 h 2515690"/>
              <a:gd name="connsiteX3" fmla="*/ 748273 w 12192000"/>
              <a:gd name="connsiteY3" fmla="*/ 373939 h 2515690"/>
              <a:gd name="connsiteX4" fmla="*/ 1037058 w 12192000"/>
              <a:gd name="connsiteY4" fmla="*/ 499994 h 2515690"/>
              <a:gd name="connsiteX5" fmla="*/ 1101312 w 12192000"/>
              <a:gd name="connsiteY5" fmla="*/ 428540 h 2515690"/>
              <a:gd name="connsiteX6" fmla="*/ 1367071 w 12192000"/>
              <a:gd name="connsiteY6" fmla="*/ 516118 h 2515690"/>
              <a:gd name="connsiteX7" fmla="*/ 2189943 w 12192000"/>
              <a:gd name="connsiteY7" fmla="*/ 794533 h 2515690"/>
              <a:gd name="connsiteX8" fmla="*/ 2390329 w 12192000"/>
              <a:gd name="connsiteY8" fmla="*/ 920897 h 2515690"/>
              <a:gd name="connsiteX9" fmla="*/ 2459570 w 12192000"/>
              <a:gd name="connsiteY9" fmla="*/ 983740 h 2515690"/>
              <a:gd name="connsiteX10" fmla="*/ 2503252 w 12192000"/>
              <a:gd name="connsiteY10" fmla="*/ 1000151 h 2515690"/>
              <a:gd name="connsiteX11" fmla="*/ 2503252 w 12192000"/>
              <a:gd name="connsiteY11" fmla="*/ 1008273 h 2515690"/>
              <a:gd name="connsiteX12" fmla="*/ 2511191 w 12192000"/>
              <a:gd name="connsiteY12" fmla="*/ 1009499 h 2515690"/>
              <a:gd name="connsiteX13" fmla="*/ 2565029 w 12192000"/>
              <a:gd name="connsiteY13" fmla="*/ 1015977 h 2515690"/>
              <a:gd name="connsiteX14" fmla="*/ 2593745 w 12192000"/>
              <a:gd name="connsiteY14" fmla="*/ 1019963 h 2515690"/>
              <a:gd name="connsiteX15" fmla="*/ 2591015 w 12192000"/>
              <a:gd name="connsiteY15" fmla="*/ 1019651 h 2515690"/>
              <a:gd name="connsiteX16" fmla="*/ 2590137 w 12192000"/>
              <a:gd name="connsiteY16" fmla="*/ 1019549 h 2515690"/>
              <a:gd name="connsiteX17" fmla="*/ 2589021 w 12192000"/>
              <a:gd name="connsiteY17" fmla="*/ 1019424 h 2515690"/>
              <a:gd name="connsiteX18" fmla="*/ 2591015 w 12192000"/>
              <a:gd name="connsiteY18" fmla="*/ 1019651 h 2515690"/>
              <a:gd name="connsiteX19" fmla="*/ 2602385 w 12192000"/>
              <a:gd name="connsiteY19" fmla="*/ 1020975 h 2515690"/>
              <a:gd name="connsiteX20" fmla="*/ 2614445 w 12192000"/>
              <a:gd name="connsiteY20" fmla="*/ 1022389 h 2515690"/>
              <a:gd name="connsiteX21" fmla="*/ 2614445 w 12192000"/>
              <a:gd name="connsiteY21" fmla="*/ 1020966 h 2515690"/>
              <a:gd name="connsiteX22" fmla="*/ 2676661 w 12192000"/>
              <a:gd name="connsiteY22" fmla="*/ 1029355 h 2515690"/>
              <a:gd name="connsiteX23" fmla="*/ 2788597 w 12192000"/>
              <a:gd name="connsiteY23" fmla="*/ 1048926 h 2515690"/>
              <a:gd name="connsiteX24" fmla="*/ 2812742 w 12192000"/>
              <a:gd name="connsiteY24" fmla="*/ 1057667 h 2515690"/>
              <a:gd name="connsiteX25" fmla="*/ 2970201 w 12192000"/>
              <a:gd name="connsiteY25" fmla="*/ 949091 h 2515690"/>
              <a:gd name="connsiteX26" fmla="*/ 3030610 w 12192000"/>
              <a:gd name="connsiteY26" fmla="*/ 1049340 h 2515690"/>
              <a:gd name="connsiteX27" fmla="*/ 3058913 w 12192000"/>
              <a:gd name="connsiteY27" fmla="*/ 1048085 h 2515690"/>
              <a:gd name="connsiteX28" fmla="*/ 3072697 w 12192000"/>
              <a:gd name="connsiteY28" fmla="*/ 1045316 h 2515690"/>
              <a:gd name="connsiteX29" fmla="*/ 3083305 w 12192000"/>
              <a:gd name="connsiteY29" fmla="*/ 1040550 h 2515690"/>
              <a:gd name="connsiteX30" fmla="*/ 3125603 w 12192000"/>
              <a:gd name="connsiteY30" fmla="*/ 1004583 h 2515690"/>
              <a:gd name="connsiteX31" fmla="*/ 3385106 w 12192000"/>
              <a:gd name="connsiteY31" fmla="*/ 1042233 h 2515690"/>
              <a:gd name="connsiteX32" fmla="*/ 3424945 w 12192000"/>
              <a:gd name="connsiteY32" fmla="*/ 1065268 h 2515690"/>
              <a:gd name="connsiteX33" fmla="*/ 3436948 w 12192000"/>
              <a:gd name="connsiteY33" fmla="*/ 1068018 h 2515690"/>
              <a:gd name="connsiteX34" fmla="*/ 3466714 w 12192000"/>
              <a:gd name="connsiteY34" fmla="*/ 1063419 h 2515690"/>
              <a:gd name="connsiteX35" fmla="*/ 3550909 w 12192000"/>
              <a:gd name="connsiteY35" fmla="*/ 1044511 h 2515690"/>
              <a:gd name="connsiteX36" fmla="*/ 3555900 w 12192000"/>
              <a:gd name="connsiteY36" fmla="*/ 1041996 h 2515690"/>
              <a:gd name="connsiteX37" fmla="*/ 3625978 w 12192000"/>
              <a:gd name="connsiteY37" fmla="*/ 1023459 h 2515690"/>
              <a:gd name="connsiteX38" fmla="*/ 3632465 w 12192000"/>
              <a:gd name="connsiteY38" fmla="*/ 1023522 h 2515690"/>
              <a:gd name="connsiteX39" fmla="*/ 3649063 w 12192000"/>
              <a:gd name="connsiteY39" fmla="*/ 1018726 h 2515690"/>
              <a:gd name="connsiteX40" fmla="*/ 3805954 w 12192000"/>
              <a:gd name="connsiteY40" fmla="*/ 917517 h 2515690"/>
              <a:gd name="connsiteX41" fmla="*/ 4020506 w 12192000"/>
              <a:gd name="connsiteY41" fmla="*/ 816231 h 2515690"/>
              <a:gd name="connsiteX42" fmla="*/ 4233682 w 12192000"/>
              <a:gd name="connsiteY42" fmla="*/ 799511 h 2515690"/>
              <a:gd name="connsiteX43" fmla="*/ 4306552 w 12192000"/>
              <a:gd name="connsiteY43" fmla="*/ 610207 h 2515690"/>
              <a:gd name="connsiteX44" fmla="*/ 4816604 w 12192000"/>
              <a:gd name="connsiteY44" fmla="*/ 773163 h 2515690"/>
              <a:gd name="connsiteX45" fmla="*/ 4916502 w 12192000"/>
              <a:gd name="connsiteY45" fmla="*/ 788104 h 2515690"/>
              <a:gd name="connsiteX46" fmla="*/ 5224415 w 12192000"/>
              <a:gd name="connsiteY46" fmla="*/ 674418 h 2515690"/>
              <a:gd name="connsiteX47" fmla="*/ 5274077 w 12192000"/>
              <a:gd name="connsiteY47" fmla="*/ 655978 h 2515690"/>
              <a:gd name="connsiteX48" fmla="*/ 5371217 w 12192000"/>
              <a:gd name="connsiteY48" fmla="*/ 614372 h 2515690"/>
              <a:gd name="connsiteX49" fmla="*/ 5364523 w 12192000"/>
              <a:gd name="connsiteY49" fmla="*/ 502501 h 2515690"/>
              <a:gd name="connsiteX50" fmla="*/ 5457871 w 12192000"/>
              <a:gd name="connsiteY50" fmla="*/ 558285 h 2515690"/>
              <a:gd name="connsiteX51" fmla="*/ 5750580 w 12192000"/>
              <a:gd name="connsiteY51" fmla="*/ 663503 h 2515690"/>
              <a:gd name="connsiteX52" fmla="*/ 5976618 w 12192000"/>
              <a:gd name="connsiteY52" fmla="*/ 582652 h 2515690"/>
              <a:gd name="connsiteX53" fmla="*/ 6009346 w 12192000"/>
              <a:gd name="connsiteY53" fmla="*/ 559470 h 2515690"/>
              <a:gd name="connsiteX54" fmla="*/ 6069735 w 12192000"/>
              <a:gd name="connsiteY54" fmla="*/ 587803 h 2515690"/>
              <a:gd name="connsiteX55" fmla="*/ 6270319 w 12192000"/>
              <a:gd name="connsiteY55" fmla="*/ 643982 h 2515690"/>
              <a:gd name="connsiteX56" fmla="*/ 6406781 w 12192000"/>
              <a:gd name="connsiteY56" fmla="*/ 672327 h 2515690"/>
              <a:gd name="connsiteX57" fmla="*/ 6469508 w 12192000"/>
              <a:gd name="connsiteY57" fmla="*/ 708574 h 2515690"/>
              <a:gd name="connsiteX58" fmla="*/ 6515869 w 12192000"/>
              <a:gd name="connsiteY58" fmla="*/ 715738 h 2515690"/>
              <a:gd name="connsiteX59" fmla="*/ 6725938 w 12192000"/>
              <a:gd name="connsiteY59" fmla="*/ 691128 h 2515690"/>
              <a:gd name="connsiteX60" fmla="*/ 6778240 w 12192000"/>
              <a:gd name="connsiteY60" fmla="*/ 678998 h 2515690"/>
              <a:gd name="connsiteX61" fmla="*/ 6806944 w 12192000"/>
              <a:gd name="connsiteY61" fmla="*/ 646178 h 2515690"/>
              <a:gd name="connsiteX62" fmla="*/ 6830632 w 12192000"/>
              <a:gd name="connsiteY62" fmla="*/ 633915 h 2515690"/>
              <a:gd name="connsiteX63" fmla="*/ 6858072 w 12192000"/>
              <a:gd name="connsiteY63" fmla="*/ 646178 h 2515690"/>
              <a:gd name="connsiteX64" fmla="*/ 6891322 w 12192000"/>
              <a:gd name="connsiteY64" fmla="*/ 678998 h 2515690"/>
              <a:gd name="connsiteX65" fmla="*/ 6951905 w 12192000"/>
              <a:gd name="connsiteY65" fmla="*/ 691128 h 2515690"/>
              <a:gd name="connsiteX66" fmla="*/ 7195246 w 12192000"/>
              <a:gd name="connsiteY66" fmla="*/ 715738 h 2515690"/>
              <a:gd name="connsiteX67" fmla="*/ 7248949 w 12192000"/>
              <a:gd name="connsiteY67" fmla="*/ 708574 h 2515690"/>
              <a:gd name="connsiteX68" fmla="*/ 7321609 w 12192000"/>
              <a:gd name="connsiteY68" fmla="*/ 672327 h 2515690"/>
              <a:gd name="connsiteX69" fmla="*/ 7479684 w 12192000"/>
              <a:gd name="connsiteY69" fmla="*/ 643982 h 2515690"/>
              <a:gd name="connsiteX70" fmla="*/ 7712035 w 12192000"/>
              <a:gd name="connsiteY70" fmla="*/ 587803 h 2515690"/>
              <a:gd name="connsiteX71" fmla="*/ 7781987 w 12192000"/>
              <a:gd name="connsiteY71" fmla="*/ 559470 h 2515690"/>
              <a:gd name="connsiteX72" fmla="*/ 7819900 w 12192000"/>
              <a:gd name="connsiteY72" fmla="*/ 582652 h 2515690"/>
              <a:gd name="connsiteX73" fmla="*/ 8081736 w 12192000"/>
              <a:gd name="connsiteY73" fmla="*/ 663503 h 2515690"/>
              <a:gd name="connsiteX74" fmla="*/ 8420801 w 12192000"/>
              <a:gd name="connsiteY74" fmla="*/ 558285 h 2515690"/>
              <a:gd name="connsiteX75" fmla="*/ 8528933 w 12192000"/>
              <a:gd name="connsiteY75" fmla="*/ 502501 h 2515690"/>
              <a:gd name="connsiteX76" fmla="*/ 8521178 w 12192000"/>
              <a:gd name="connsiteY76" fmla="*/ 614372 h 2515690"/>
              <a:gd name="connsiteX77" fmla="*/ 8633702 w 12192000"/>
              <a:gd name="connsiteY77" fmla="*/ 655978 h 2515690"/>
              <a:gd name="connsiteX78" fmla="*/ 8691231 w 12192000"/>
              <a:gd name="connsiteY78" fmla="*/ 674418 h 2515690"/>
              <a:gd name="connsiteX79" fmla="*/ 9047908 w 12192000"/>
              <a:gd name="connsiteY79" fmla="*/ 788104 h 2515690"/>
              <a:gd name="connsiteX80" fmla="*/ 9163628 w 12192000"/>
              <a:gd name="connsiteY80" fmla="*/ 773163 h 2515690"/>
              <a:gd name="connsiteX81" fmla="*/ 9754459 w 12192000"/>
              <a:gd name="connsiteY81" fmla="*/ 610207 h 2515690"/>
              <a:gd name="connsiteX82" fmla="*/ 9838868 w 12192000"/>
              <a:gd name="connsiteY82" fmla="*/ 799511 h 2515690"/>
              <a:gd name="connsiteX83" fmla="*/ 10085808 w 12192000"/>
              <a:gd name="connsiteY83" fmla="*/ 816231 h 2515690"/>
              <a:gd name="connsiteX84" fmla="*/ 10334338 w 12192000"/>
              <a:gd name="connsiteY84" fmla="*/ 917517 h 2515690"/>
              <a:gd name="connsiteX85" fmla="*/ 10516076 w 12192000"/>
              <a:gd name="connsiteY85" fmla="*/ 1018726 h 2515690"/>
              <a:gd name="connsiteX86" fmla="*/ 10535302 w 12192000"/>
              <a:gd name="connsiteY86" fmla="*/ 1023522 h 2515690"/>
              <a:gd name="connsiteX87" fmla="*/ 10542819 w 12192000"/>
              <a:gd name="connsiteY87" fmla="*/ 1023458 h 2515690"/>
              <a:gd name="connsiteX88" fmla="*/ 10623994 w 12192000"/>
              <a:gd name="connsiteY88" fmla="*/ 1041996 h 2515690"/>
              <a:gd name="connsiteX89" fmla="*/ 10629774 w 12192000"/>
              <a:gd name="connsiteY89" fmla="*/ 1044511 h 2515690"/>
              <a:gd name="connsiteX90" fmla="*/ 10727305 w 12192000"/>
              <a:gd name="connsiteY90" fmla="*/ 1063419 h 2515690"/>
              <a:gd name="connsiteX91" fmla="*/ 10761785 w 12192000"/>
              <a:gd name="connsiteY91" fmla="*/ 1068017 h 2515690"/>
              <a:gd name="connsiteX92" fmla="*/ 10775688 w 12192000"/>
              <a:gd name="connsiteY92" fmla="*/ 1065268 h 2515690"/>
              <a:gd name="connsiteX93" fmla="*/ 10821837 w 12192000"/>
              <a:gd name="connsiteY93" fmla="*/ 1042232 h 2515690"/>
              <a:gd name="connsiteX94" fmla="*/ 11122438 w 12192000"/>
              <a:gd name="connsiteY94" fmla="*/ 1004583 h 2515690"/>
              <a:gd name="connsiteX95" fmla="*/ 11171433 w 12192000"/>
              <a:gd name="connsiteY95" fmla="*/ 1040550 h 2515690"/>
              <a:gd name="connsiteX96" fmla="*/ 11183724 w 12192000"/>
              <a:gd name="connsiteY96" fmla="*/ 1045316 h 2515690"/>
              <a:gd name="connsiteX97" fmla="*/ 11199690 w 12192000"/>
              <a:gd name="connsiteY97" fmla="*/ 1048085 h 2515690"/>
              <a:gd name="connsiteX98" fmla="*/ 11232475 w 12192000"/>
              <a:gd name="connsiteY98" fmla="*/ 1049340 h 2515690"/>
              <a:gd name="connsiteX99" fmla="*/ 11302451 w 12192000"/>
              <a:gd name="connsiteY99" fmla="*/ 949091 h 2515690"/>
              <a:gd name="connsiteX100" fmla="*/ 11484849 w 12192000"/>
              <a:gd name="connsiteY100" fmla="*/ 1057667 h 2515690"/>
              <a:gd name="connsiteX101" fmla="*/ 11512818 w 12192000"/>
              <a:gd name="connsiteY101" fmla="*/ 1048926 h 2515690"/>
              <a:gd name="connsiteX102" fmla="*/ 11642481 w 12192000"/>
              <a:gd name="connsiteY102" fmla="*/ 1029355 h 2515690"/>
              <a:gd name="connsiteX103" fmla="*/ 11714551 w 12192000"/>
              <a:gd name="connsiteY103" fmla="*/ 1020966 h 2515690"/>
              <a:gd name="connsiteX104" fmla="*/ 11714551 w 12192000"/>
              <a:gd name="connsiteY104" fmla="*/ 1022389 h 2515690"/>
              <a:gd name="connsiteX105" fmla="*/ 11728519 w 12192000"/>
              <a:gd name="connsiteY105" fmla="*/ 1020975 h 2515690"/>
              <a:gd name="connsiteX106" fmla="*/ 11741691 w 12192000"/>
              <a:gd name="connsiteY106" fmla="*/ 1019651 h 2515690"/>
              <a:gd name="connsiteX107" fmla="*/ 11743999 w 12192000"/>
              <a:gd name="connsiteY107" fmla="*/ 1019424 h 2515690"/>
              <a:gd name="connsiteX108" fmla="*/ 11742709 w 12192000"/>
              <a:gd name="connsiteY108" fmla="*/ 1019549 h 2515690"/>
              <a:gd name="connsiteX109" fmla="*/ 11741691 w 12192000"/>
              <a:gd name="connsiteY109" fmla="*/ 1019651 h 2515690"/>
              <a:gd name="connsiteX110" fmla="*/ 11738529 w 12192000"/>
              <a:gd name="connsiteY110" fmla="*/ 1019963 h 2515690"/>
              <a:gd name="connsiteX111" fmla="*/ 11771791 w 12192000"/>
              <a:gd name="connsiteY111" fmla="*/ 1015977 h 2515690"/>
              <a:gd name="connsiteX112" fmla="*/ 11834157 w 12192000"/>
              <a:gd name="connsiteY112" fmla="*/ 1009499 h 2515690"/>
              <a:gd name="connsiteX113" fmla="*/ 11843354 w 12192000"/>
              <a:gd name="connsiteY113" fmla="*/ 1008273 h 2515690"/>
              <a:gd name="connsiteX114" fmla="*/ 11843354 w 12192000"/>
              <a:gd name="connsiteY114" fmla="*/ 1000151 h 2515690"/>
              <a:gd name="connsiteX115" fmla="*/ 11893955 w 12192000"/>
              <a:gd name="connsiteY115" fmla="*/ 983740 h 2515690"/>
              <a:gd name="connsiteX116" fmla="*/ 11974160 w 12192000"/>
              <a:gd name="connsiteY116" fmla="*/ 920897 h 2515690"/>
              <a:gd name="connsiteX117" fmla="*/ 12143531 w 12192000"/>
              <a:gd name="connsiteY117" fmla="*/ 823664 h 2515690"/>
              <a:gd name="connsiteX118" fmla="*/ 12192000 w 12192000"/>
              <a:gd name="connsiteY118" fmla="*/ 801163 h 2515690"/>
              <a:gd name="connsiteX119" fmla="*/ 12192000 w 12192000"/>
              <a:gd name="connsiteY119" fmla="*/ 2515690 h 2515690"/>
              <a:gd name="connsiteX120" fmla="*/ 0 w 12192000"/>
              <a:gd name="connsiteY120" fmla="*/ 2515690 h 251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12192000" h="2515690">
                <a:moveTo>
                  <a:pt x="0" y="0"/>
                </a:moveTo>
                <a:lnTo>
                  <a:pt x="170442" y="96074"/>
                </a:lnTo>
                <a:cubicBezTo>
                  <a:pt x="323315" y="179510"/>
                  <a:pt x="418777" y="223899"/>
                  <a:pt x="424739" y="224865"/>
                </a:cubicBezTo>
                <a:cubicBezTo>
                  <a:pt x="573781" y="248496"/>
                  <a:pt x="654649" y="314572"/>
                  <a:pt x="748273" y="373939"/>
                </a:cubicBezTo>
                <a:cubicBezTo>
                  <a:pt x="830321" y="425631"/>
                  <a:pt x="917271" y="480784"/>
                  <a:pt x="1037058" y="499994"/>
                </a:cubicBezTo>
                <a:cubicBezTo>
                  <a:pt x="1195925" y="525362"/>
                  <a:pt x="1048105" y="445478"/>
                  <a:pt x="1101312" y="428540"/>
                </a:cubicBezTo>
                <a:cubicBezTo>
                  <a:pt x="1188473" y="458169"/>
                  <a:pt x="1274625" y="505369"/>
                  <a:pt x="1367071" y="516118"/>
                </a:cubicBezTo>
                <a:cubicBezTo>
                  <a:pt x="1701323" y="554463"/>
                  <a:pt x="1964451" y="648887"/>
                  <a:pt x="2189943" y="794533"/>
                </a:cubicBezTo>
                <a:cubicBezTo>
                  <a:pt x="2255082" y="836300"/>
                  <a:pt x="2357481" y="862342"/>
                  <a:pt x="2390329" y="920897"/>
                </a:cubicBezTo>
                <a:cubicBezTo>
                  <a:pt x="2406050" y="949359"/>
                  <a:pt x="2430126" y="969285"/>
                  <a:pt x="2459570" y="983740"/>
                </a:cubicBezTo>
                <a:lnTo>
                  <a:pt x="2503252" y="1000151"/>
                </a:lnTo>
                <a:lnTo>
                  <a:pt x="2503252" y="1008273"/>
                </a:lnTo>
                <a:lnTo>
                  <a:pt x="2511191" y="1009499"/>
                </a:lnTo>
                <a:cubicBezTo>
                  <a:pt x="2529847" y="1011974"/>
                  <a:pt x="2562849" y="1015701"/>
                  <a:pt x="2565029" y="1015977"/>
                </a:cubicBezTo>
                <a:cubicBezTo>
                  <a:pt x="2610845" y="1021778"/>
                  <a:pt x="2601577" y="1020837"/>
                  <a:pt x="2593745" y="1019963"/>
                </a:cubicBezTo>
                <a:lnTo>
                  <a:pt x="2591015" y="1019651"/>
                </a:lnTo>
                <a:lnTo>
                  <a:pt x="2590137" y="1019549"/>
                </a:lnTo>
                <a:cubicBezTo>
                  <a:pt x="2588203" y="1019326"/>
                  <a:pt x="2588125" y="1019321"/>
                  <a:pt x="2589021" y="1019424"/>
                </a:cubicBezTo>
                <a:lnTo>
                  <a:pt x="2591015" y="1019651"/>
                </a:lnTo>
                <a:lnTo>
                  <a:pt x="2602385" y="1020975"/>
                </a:lnTo>
                <a:lnTo>
                  <a:pt x="2614445" y="1022389"/>
                </a:lnTo>
                <a:lnTo>
                  <a:pt x="2614445" y="1020966"/>
                </a:lnTo>
                <a:lnTo>
                  <a:pt x="2676661" y="1029355"/>
                </a:lnTo>
                <a:cubicBezTo>
                  <a:pt x="2715592" y="1034194"/>
                  <a:pt x="2753901" y="1039695"/>
                  <a:pt x="2788597" y="1048926"/>
                </a:cubicBezTo>
                <a:lnTo>
                  <a:pt x="2812742" y="1057667"/>
                </a:lnTo>
                <a:lnTo>
                  <a:pt x="2970201" y="949091"/>
                </a:lnTo>
                <a:cubicBezTo>
                  <a:pt x="3052785" y="982961"/>
                  <a:pt x="2996105" y="1020057"/>
                  <a:pt x="3030610" y="1049340"/>
                </a:cubicBezTo>
                <a:cubicBezTo>
                  <a:pt x="3039005" y="1048442"/>
                  <a:pt x="3049621" y="1048500"/>
                  <a:pt x="3058913" y="1048085"/>
                </a:cubicBezTo>
                <a:lnTo>
                  <a:pt x="3072697" y="1045316"/>
                </a:lnTo>
                <a:lnTo>
                  <a:pt x="3083305" y="1040550"/>
                </a:lnTo>
                <a:lnTo>
                  <a:pt x="3125603" y="1004583"/>
                </a:lnTo>
                <a:cubicBezTo>
                  <a:pt x="3221669" y="925596"/>
                  <a:pt x="3242489" y="937564"/>
                  <a:pt x="3385106" y="1042233"/>
                </a:cubicBezTo>
                <a:cubicBezTo>
                  <a:pt x="3399403" y="1052670"/>
                  <a:pt x="3412529" y="1060209"/>
                  <a:pt x="3424945" y="1065268"/>
                </a:cubicBezTo>
                <a:lnTo>
                  <a:pt x="3436948" y="1068018"/>
                </a:lnTo>
                <a:lnTo>
                  <a:pt x="3466714" y="1063419"/>
                </a:lnTo>
                <a:lnTo>
                  <a:pt x="3550909" y="1044511"/>
                </a:lnTo>
                <a:lnTo>
                  <a:pt x="3555900" y="1041996"/>
                </a:lnTo>
                <a:cubicBezTo>
                  <a:pt x="3573827" y="1033454"/>
                  <a:pt x="3594382" y="1025941"/>
                  <a:pt x="3625978" y="1023459"/>
                </a:cubicBezTo>
                <a:lnTo>
                  <a:pt x="3632465" y="1023522"/>
                </a:lnTo>
                <a:lnTo>
                  <a:pt x="3649063" y="1018726"/>
                </a:lnTo>
                <a:cubicBezTo>
                  <a:pt x="3741849" y="989371"/>
                  <a:pt x="3810578" y="953657"/>
                  <a:pt x="3805954" y="917517"/>
                </a:cubicBezTo>
                <a:cubicBezTo>
                  <a:pt x="4031729" y="953901"/>
                  <a:pt x="4031729" y="953901"/>
                  <a:pt x="4020506" y="816231"/>
                </a:cubicBezTo>
                <a:cubicBezTo>
                  <a:pt x="4171643" y="865324"/>
                  <a:pt x="4206308" y="864422"/>
                  <a:pt x="4233682" y="799511"/>
                </a:cubicBezTo>
                <a:cubicBezTo>
                  <a:pt x="4260226" y="737017"/>
                  <a:pt x="4254728" y="668575"/>
                  <a:pt x="4306552" y="610207"/>
                </a:cubicBezTo>
                <a:cubicBezTo>
                  <a:pt x="4495313" y="657923"/>
                  <a:pt x="4699922" y="667347"/>
                  <a:pt x="4816604" y="773163"/>
                </a:cubicBezTo>
                <a:cubicBezTo>
                  <a:pt x="4834734" y="789836"/>
                  <a:pt x="4890507" y="799946"/>
                  <a:pt x="4916502" y="788104"/>
                </a:cubicBezTo>
                <a:cubicBezTo>
                  <a:pt x="5013526" y="746101"/>
                  <a:pt x="5238129" y="796871"/>
                  <a:pt x="5224415" y="674418"/>
                </a:cubicBezTo>
                <a:cubicBezTo>
                  <a:pt x="5223051" y="659300"/>
                  <a:pt x="5240524" y="644890"/>
                  <a:pt x="5274077" y="655978"/>
                </a:cubicBezTo>
                <a:cubicBezTo>
                  <a:pt x="5388582" y="694066"/>
                  <a:pt x="5367022" y="644784"/>
                  <a:pt x="5371217" y="614372"/>
                </a:cubicBezTo>
                <a:cubicBezTo>
                  <a:pt x="5375856" y="577567"/>
                  <a:pt x="5319010" y="537578"/>
                  <a:pt x="5364523" y="502501"/>
                </a:cubicBezTo>
                <a:cubicBezTo>
                  <a:pt x="5425408" y="508891"/>
                  <a:pt x="5433299" y="538191"/>
                  <a:pt x="5457871" y="558285"/>
                </a:cubicBezTo>
                <a:cubicBezTo>
                  <a:pt x="5530352" y="617005"/>
                  <a:pt x="5609566" y="664386"/>
                  <a:pt x="5750580" y="663503"/>
                </a:cubicBezTo>
                <a:cubicBezTo>
                  <a:pt x="5864519" y="662926"/>
                  <a:pt x="5966527" y="666650"/>
                  <a:pt x="5976618" y="582652"/>
                </a:cubicBezTo>
                <a:cubicBezTo>
                  <a:pt x="5978145" y="569455"/>
                  <a:pt x="5990792" y="562346"/>
                  <a:pt x="6009346" y="559470"/>
                </a:cubicBezTo>
                <a:cubicBezTo>
                  <a:pt x="6030639" y="568485"/>
                  <a:pt x="6052592" y="577083"/>
                  <a:pt x="6069735" y="587803"/>
                </a:cubicBezTo>
                <a:cubicBezTo>
                  <a:pt x="6126182" y="623812"/>
                  <a:pt x="6196945" y="634730"/>
                  <a:pt x="6270319" y="643982"/>
                </a:cubicBezTo>
                <a:cubicBezTo>
                  <a:pt x="6317101" y="649940"/>
                  <a:pt x="6363466" y="657107"/>
                  <a:pt x="6406781" y="672327"/>
                </a:cubicBezTo>
                <a:cubicBezTo>
                  <a:pt x="6433586" y="681598"/>
                  <a:pt x="6454928" y="693402"/>
                  <a:pt x="6469508" y="708574"/>
                </a:cubicBezTo>
                <a:cubicBezTo>
                  <a:pt x="6482729" y="721786"/>
                  <a:pt x="6496225" y="725422"/>
                  <a:pt x="6515869" y="715738"/>
                </a:cubicBezTo>
                <a:cubicBezTo>
                  <a:pt x="6572200" y="688353"/>
                  <a:pt x="6639257" y="676241"/>
                  <a:pt x="6725938" y="691128"/>
                </a:cubicBezTo>
                <a:cubicBezTo>
                  <a:pt x="6752109" y="695629"/>
                  <a:pt x="6772625" y="691505"/>
                  <a:pt x="6778240" y="678998"/>
                </a:cubicBezTo>
                <a:cubicBezTo>
                  <a:pt x="6784286" y="665981"/>
                  <a:pt x="6794269" y="655280"/>
                  <a:pt x="6806944" y="646178"/>
                </a:cubicBezTo>
                <a:lnTo>
                  <a:pt x="6830632" y="633915"/>
                </a:lnTo>
                <a:lnTo>
                  <a:pt x="6858072" y="646178"/>
                </a:lnTo>
                <a:cubicBezTo>
                  <a:pt x="6872754" y="655280"/>
                  <a:pt x="6884317" y="665981"/>
                  <a:pt x="6891322" y="678998"/>
                </a:cubicBezTo>
                <a:cubicBezTo>
                  <a:pt x="6897826" y="691505"/>
                  <a:pt x="6921592" y="695629"/>
                  <a:pt x="6951905" y="691128"/>
                </a:cubicBezTo>
                <a:cubicBezTo>
                  <a:pt x="7052317" y="676241"/>
                  <a:pt x="7129994" y="688353"/>
                  <a:pt x="7195246" y="715738"/>
                </a:cubicBezTo>
                <a:cubicBezTo>
                  <a:pt x="7217999" y="725422"/>
                  <a:pt x="7233634" y="721786"/>
                  <a:pt x="7248949" y="708574"/>
                </a:cubicBezTo>
                <a:cubicBezTo>
                  <a:pt x="7265838" y="693402"/>
                  <a:pt x="7290560" y="681598"/>
                  <a:pt x="7321609" y="672327"/>
                </a:cubicBezTo>
                <a:cubicBezTo>
                  <a:pt x="7371785" y="657107"/>
                  <a:pt x="7425493" y="649940"/>
                  <a:pt x="7479684" y="643982"/>
                </a:cubicBezTo>
                <a:cubicBezTo>
                  <a:pt x="7564679" y="634730"/>
                  <a:pt x="7646649" y="623812"/>
                  <a:pt x="7712035" y="587803"/>
                </a:cubicBezTo>
                <a:cubicBezTo>
                  <a:pt x="7731892" y="577083"/>
                  <a:pt x="7757322" y="568485"/>
                  <a:pt x="7781987" y="559470"/>
                </a:cubicBezTo>
                <a:cubicBezTo>
                  <a:pt x="7803481" y="562346"/>
                  <a:pt x="7818130" y="569455"/>
                  <a:pt x="7819900" y="582652"/>
                </a:cubicBezTo>
                <a:cubicBezTo>
                  <a:pt x="7831588" y="666650"/>
                  <a:pt x="7949751" y="662926"/>
                  <a:pt x="8081736" y="663503"/>
                </a:cubicBezTo>
                <a:cubicBezTo>
                  <a:pt x="8245081" y="664386"/>
                  <a:pt x="8336842" y="617005"/>
                  <a:pt x="8420801" y="558285"/>
                </a:cubicBezTo>
                <a:cubicBezTo>
                  <a:pt x="8449265" y="538191"/>
                  <a:pt x="8458404" y="508890"/>
                  <a:pt x="8528933" y="502501"/>
                </a:cubicBezTo>
                <a:cubicBezTo>
                  <a:pt x="8581654" y="537578"/>
                  <a:pt x="8515805" y="577567"/>
                  <a:pt x="8521178" y="614372"/>
                </a:cubicBezTo>
                <a:cubicBezTo>
                  <a:pt x="8526038" y="644784"/>
                  <a:pt x="8501063" y="694066"/>
                  <a:pt x="8633702" y="655978"/>
                </a:cubicBezTo>
                <a:cubicBezTo>
                  <a:pt x="8672570" y="644890"/>
                  <a:pt x="8692811" y="659300"/>
                  <a:pt x="8691231" y="674418"/>
                </a:cubicBezTo>
                <a:cubicBezTo>
                  <a:pt x="8675345" y="796871"/>
                  <a:pt x="8935518" y="746101"/>
                  <a:pt x="9047908" y="788104"/>
                </a:cubicBezTo>
                <a:cubicBezTo>
                  <a:pt x="9078021" y="799946"/>
                  <a:pt x="9142627" y="789836"/>
                  <a:pt x="9163628" y="773163"/>
                </a:cubicBezTo>
                <a:cubicBezTo>
                  <a:pt x="9298789" y="667347"/>
                  <a:pt x="9535801" y="657923"/>
                  <a:pt x="9754459" y="610207"/>
                </a:cubicBezTo>
                <a:cubicBezTo>
                  <a:pt x="9814490" y="668575"/>
                  <a:pt x="9808123" y="737017"/>
                  <a:pt x="9838868" y="799511"/>
                </a:cubicBezTo>
                <a:cubicBezTo>
                  <a:pt x="9870579" y="864422"/>
                  <a:pt x="9910733" y="865324"/>
                  <a:pt x="10085808" y="816231"/>
                </a:cubicBezTo>
                <a:cubicBezTo>
                  <a:pt x="10072804" y="953901"/>
                  <a:pt x="10072804" y="953901"/>
                  <a:pt x="10334338" y="917517"/>
                </a:cubicBezTo>
                <a:cubicBezTo>
                  <a:pt x="10328982" y="953657"/>
                  <a:pt x="10408594" y="989371"/>
                  <a:pt x="10516076" y="1018726"/>
                </a:cubicBezTo>
                <a:lnTo>
                  <a:pt x="10535302" y="1023522"/>
                </a:lnTo>
                <a:lnTo>
                  <a:pt x="10542819" y="1023458"/>
                </a:lnTo>
                <a:cubicBezTo>
                  <a:pt x="10579419" y="1025941"/>
                  <a:pt x="10603227" y="1033454"/>
                  <a:pt x="10623994" y="1041996"/>
                </a:cubicBezTo>
                <a:lnTo>
                  <a:pt x="10629774" y="1044511"/>
                </a:lnTo>
                <a:lnTo>
                  <a:pt x="10727305" y="1063419"/>
                </a:lnTo>
                <a:lnTo>
                  <a:pt x="10761785" y="1068017"/>
                </a:lnTo>
                <a:lnTo>
                  <a:pt x="10775688" y="1065268"/>
                </a:lnTo>
                <a:cubicBezTo>
                  <a:pt x="10790070" y="1060209"/>
                  <a:pt x="10805275" y="1052670"/>
                  <a:pt x="10821837" y="1042232"/>
                </a:cubicBezTo>
                <a:cubicBezTo>
                  <a:pt x="10987041" y="937564"/>
                  <a:pt x="11011156" y="925596"/>
                  <a:pt x="11122438" y="1004583"/>
                </a:cubicBezTo>
                <a:lnTo>
                  <a:pt x="11171433" y="1040550"/>
                </a:lnTo>
                <a:lnTo>
                  <a:pt x="11183724" y="1045316"/>
                </a:lnTo>
                <a:lnTo>
                  <a:pt x="11199690" y="1048085"/>
                </a:lnTo>
                <a:cubicBezTo>
                  <a:pt x="11210452" y="1048499"/>
                  <a:pt x="11222752" y="1048442"/>
                  <a:pt x="11232475" y="1049340"/>
                </a:cubicBezTo>
                <a:cubicBezTo>
                  <a:pt x="11272445" y="1020057"/>
                  <a:pt x="11206789" y="982961"/>
                  <a:pt x="11302451" y="949091"/>
                </a:cubicBezTo>
                <a:lnTo>
                  <a:pt x="11484849" y="1057667"/>
                </a:lnTo>
                <a:lnTo>
                  <a:pt x="11512818" y="1048926"/>
                </a:lnTo>
                <a:cubicBezTo>
                  <a:pt x="11553007" y="1039695"/>
                  <a:pt x="11597385" y="1034194"/>
                  <a:pt x="11642481" y="1029355"/>
                </a:cubicBezTo>
                <a:lnTo>
                  <a:pt x="11714551" y="1020966"/>
                </a:lnTo>
                <a:lnTo>
                  <a:pt x="11714551" y="1022389"/>
                </a:lnTo>
                <a:lnTo>
                  <a:pt x="11728519" y="1020975"/>
                </a:lnTo>
                <a:lnTo>
                  <a:pt x="11741691" y="1019651"/>
                </a:lnTo>
                <a:lnTo>
                  <a:pt x="11743999" y="1019424"/>
                </a:lnTo>
                <a:cubicBezTo>
                  <a:pt x="11745037" y="1019320"/>
                  <a:pt x="11744948" y="1019326"/>
                  <a:pt x="11742709" y="1019549"/>
                </a:cubicBezTo>
                <a:lnTo>
                  <a:pt x="11741691" y="1019651"/>
                </a:lnTo>
                <a:lnTo>
                  <a:pt x="11738529" y="1019963"/>
                </a:lnTo>
                <a:cubicBezTo>
                  <a:pt x="11729455" y="1020837"/>
                  <a:pt x="11718720" y="1021778"/>
                  <a:pt x="11771791" y="1015977"/>
                </a:cubicBezTo>
                <a:cubicBezTo>
                  <a:pt x="11774317" y="1015701"/>
                  <a:pt x="11812546" y="1011974"/>
                  <a:pt x="11834157" y="1009499"/>
                </a:cubicBezTo>
                <a:lnTo>
                  <a:pt x="11843354" y="1008273"/>
                </a:lnTo>
                <a:lnTo>
                  <a:pt x="11843354" y="1000151"/>
                </a:lnTo>
                <a:lnTo>
                  <a:pt x="11893955" y="983740"/>
                </a:lnTo>
                <a:cubicBezTo>
                  <a:pt x="11928061" y="969285"/>
                  <a:pt x="11955951" y="949359"/>
                  <a:pt x="11974160" y="920897"/>
                </a:cubicBezTo>
                <a:cubicBezTo>
                  <a:pt x="12002698" y="876981"/>
                  <a:pt x="12076554" y="851353"/>
                  <a:pt x="12143531" y="823664"/>
                </a:cubicBezTo>
                <a:lnTo>
                  <a:pt x="12192000" y="801163"/>
                </a:lnTo>
                <a:lnTo>
                  <a:pt x="12192000" y="2515690"/>
                </a:lnTo>
                <a:lnTo>
                  <a:pt x="0" y="2515690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2C7AB4-BFC0-33F2-1E07-98FBC3126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3027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b="1" i="0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Order Management and Customer Support System(OMCSS)</a:t>
            </a:r>
            <a:br>
              <a:rPr lang="en-US"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</a:br>
            <a:endParaRPr lang="en-US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8E2407F-DACC-722B-4142-55370A67863F}"/>
              </a:ext>
            </a:extLst>
          </p:cNvPr>
          <p:cNvSpPr>
            <a:spLocks/>
          </p:cNvSpPr>
          <p:nvPr/>
        </p:nvSpPr>
        <p:spPr>
          <a:xfrm>
            <a:off x="1836218" y="2111742"/>
            <a:ext cx="8646529" cy="3665581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b="1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Features:</a:t>
            </a: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Access order history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Track current orders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Receive timely notifications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Initiate support tickets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Process returns</a:t>
            </a:r>
          </a:p>
          <a:p>
            <a:pPr marL="347472" lvl="1" defTabSz="694944">
              <a:spcAft>
                <a:spcPts val="600"/>
              </a:spcAft>
            </a:pP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b="1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Dependency and Collaboration:</a:t>
            </a:r>
          </a:p>
          <a:p>
            <a:pPr marL="347472" lvl="1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  Dependencies on Cart, Order, and Tracker Services.</a:t>
            </a:r>
          </a:p>
          <a:p>
            <a:pPr marL="347472" lvl="1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  Collaborating with Team-4, Team-6, and Team-7.</a:t>
            </a:r>
          </a:p>
          <a:p>
            <a:pPr defTabSz="694944">
              <a:spcAft>
                <a:spcPts val="600"/>
              </a:spcAft>
            </a:pP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A688A1-E273-76C3-F5FE-66536D371D19}"/>
              </a:ext>
            </a:extLst>
          </p:cNvPr>
          <p:cNvSpPr>
            <a:spLocks/>
          </p:cNvSpPr>
          <p:nvPr/>
        </p:nvSpPr>
        <p:spPr>
          <a:xfrm>
            <a:off x="1709252" y="5970401"/>
            <a:ext cx="284010" cy="201799"/>
          </a:xfrm>
          <a:prstGeom prst="rect">
            <a:avLst/>
          </a:prstGeom>
        </p:spPr>
        <p:txBody>
          <a:bodyPr/>
          <a:lstStyle/>
          <a:p>
            <a:pPr defTabSz="694944">
              <a:spcAft>
                <a:spcPts val="600"/>
              </a:spcAft>
            </a:pPr>
            <a:fld id="{0879F475-59B1-4993-848A-C2B683DE9AF5}" type="slidenum">
              <a:rPr lang="en-IN" sz="136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defTabSz="694944">
                <a:spcAft>
                  <a:spcPts val="600"/>
                </a:spcAft>
              </a:pPr>
              <a:t>5</a:t>
            </a:fld>
            <a:endParaRPr lang="en-IN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A5E3D75-983E-10FC-2A89-8158F3E7C8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5940007"/>
              </p:ext>
            </p:extLst>
          </p:nvPr>
        </p:nvGraphicFramePr>
        <p:xfrm>
          <a:off x="6835746" y="2011363"/>
          <a:ext cx="3571381" cy="33735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1364688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89067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extra can be implemented in the Capstone Project – Team9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ECD769F-DBA9-34E9-A8C7-C810A4B27443}"/>
              </a:ext>
            </a:extLst>
          </p:cNvPr>
          <p:cNvSpPr txBox="1"/>
          <p:nvPr/>
        </p:nvSpPr>
        <p:spPr>
          <a:xfrm>
            <a:off x="528810" y="1327427"/>
            <a:ext cx="963892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eview Images and Videos:</a:t>
            </a:r>
            <a:br>
              <a:rPr lang="en-US" dirty="0"/>
            </a:br>
            <a:r>
              <a:rPr lang="en-US" dirty="0"/>
              <a:t>Enable users to attach images or videos to their reviews to provide a visual aspect of their experience with the product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i="0" dirty="0">
                <a:effectLst/>
                <a:latin typeface="Söhne"/>
              </a:rPr>
              <a:t>Gamification for Feedback:</a:t>
            </a:r>
            <a:br>
              <a:rPr lang="en-IN" b="1" i="0" dirty="0">
                <a:effectLst/>
                <a:latin typeface="Söhne"/>
              </a:rPr>
            </a:br>
            <a:r>
              <a:rPr lang="en-IN" i="0" dirty="0">
                <a:effectLst/>
                <a:latin typeface="Söhne"/>
              </a:rPr>
              <a:t>Introduce gamification elements to encourage customers to provide feedback, such as badges, rewards, or loyalty points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800" b="1" i="0" dirty="0">
                <a:effectLst/>
                <a:latin typeface="Söhne"/>
              </a:rPr>
              <a:t>Performance Monitoring</a:t>
            </a:r>
            <a:br>
              <a:rPr lang="en-IN" sz="1800" b="1" i="0" dirty="0">
                <a:effectLst/>
                <a:latin typeface="Söhne"/>
              </a:rPr>
            </a:br>
            <a:r>
              <a:rPr lang="en-IN" sz="1800" i="0" dirty="0">
                <a:effectLst/>
                <a:latin typeface="Söhne"/>
              </a:rPr>
              <a:t>Implement continuous performance monitoring to quickly identify and address any degradation in system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dirty="0">
                <a:latin typeface="Söhne"/>
              </a:rPr>
              <a:t>Push logs to Splunk Cloud</a:t>
            </a:r>
            <a:br>
              <a:rPr lang="en-IN" b="1" dirty="0">
                <a:latin typeface="Söhne"/>
              </a:rPr>
            </a:br>
            <a:r>
              <a:rPr lang="en-IN" dirty="0">
                <a:latin typeface="Söhne"/>
              </a:rPr>
              <a:t>In general, we save the output and transaction events and errors in a log file but we tried integrating with </a:t>
            </a:r>
            <a:r>
              <a:rPr lang="en-IN" dirty="0" err="1">
                <a:latin typeface="Söhne"/>
              </a:rPr>
              <a:t>splunk</a:t>
            </a:r>
            <a:r>
              <a:rPr lang="en-IN" dirty="0">
                <a:latin typeface="Söhne"/>
              </a:rPr>
              <a:t> cloud but due to lack of time we are still stuck.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44546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B71751-34D6-E01A-9A66-F95D28708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349" y="242404"/>
            <a:ext cx="10515600" cy="702434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en-US" sz="2800" b="1">
                <a:cs typeface="Calibri Light"/>
              </a:rPr>
              <a:t>Tech Stack Used</a:t>
            </a:r>
            <a:endParaRPr lang="en-US" sz="2800" b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257E69-5C6F-4647-9B76-C9A55E8212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3005" y="1018859"/>
            <a:ext cx="10695450" cy="475836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000" b="1" i="1">
                <a:cs typeface="Calibri"/>
              </a:rPr>
              <a:t>   Frontend                   Backend                       DevOps                        Deployment</a:t>
            </a:r>
          </a:p>
          <a:p>
            <a:pPr marL="0" indent="0">
              <a:buNone/>
            </a:pPr>
            <a:endParaRPr lang="en-US" sz="1400">
              <a:cs typeface="Calibri"/>
            </a:endParaRPr>
          </a:p>
          <a:p>
            <a:pPr marL="0" indent="0">
              <a:buNone/>
            </a:pPr>
            <a:endParaRPr lang="en-US" sz="2000">
              <a:cs typeface="Calibri"/>
            </a:endParaRPr>
          </a:p>
          <a:p>
            <a:pPr marL="0" indent="0" algn="just">
              <a:buNone/>
            </a:pPr>
            <a:endParaRPr lang="en-US" sz="2000" b="1" i="1">
              <a:cs typeface="Calibri"/>
            </a:endParaRPr>
          </a:p>
          <a:p>
            <a:pPr marL="0" indent="0" algn="just">
              <a:buNone/>
            </a:pPr>
            <a:endParaRPr lang="en-US" sz="2000" b="1" i="1">
              <a:cs typeface="Calibri"/>
            </a:endParaRPr>
          </a:p>
          <a:p>
            <a:pPr marL="0" indent="0" algn="just">
              <a:buNone/>
            </a:pPr>
            <a:endParaRPr lang="en-US" sz="2000" b="1" i="1">
              <a:solidFill>
                <a:prstClr val="black"/>
              </a:solidFill>
              <a:latin typeface="Calibri" panose="020F0502020204030204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F1E44A-4C33-1E4A-C184-3850E6369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51</a:t>
            </a:fld>
            <a:endParaRPr lang="en-IN"/>
          </a:p>
        </p:txBody>
      </p:sp>
      <p:pic>
        <p:nvPicPr>
          <p:cNvPr id="5" name="Picture 4" descr="A yellow and white logo&#10;&#10;Description automatically generated">
            <a:extLst>
              <a:ext uri="{FF2B5EF4-FFF2-40B4-BE49-F238E27FC236}">
                <a16:creationId xmlns:a16="http://schemas.microsoft.com/office/drawing/2014/main" id="{9524021B-FBF6-AF4A-AE65-8024AD541C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1466850"/>
            <a:ext cx="900114" cy="695326"/>
          </a:xfrm>
          <a:prstGeom prst="rect">
            <a:avLst/>
          </a:prstGeom>
        </p:spPr>
      </p:pic>
      <p:pic>
        <p:nvPicPr>
          <p:cNvPr id="6" name="Picture 5" descr="A blue and black logo&#10;&#10;Description automatically generated">
            <a:extLst>
              <a:ext uri="{FF2B5EF4-FFF2-40B4-BE49-F238E27FC236}">
                <a16:creationId xmlns:a16="http://schemas.microsoft.com/office/drawing/2014/main" id="{DCF4B0F0-698F-3BAB-D187-6E2EB48B75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5350" y="2538412"/>
            <a:ext cx="933450" cy="728663"/>
          </a:xfrm>
          <a:prstGeom prst="rect">
            <a:avLst/>
          </a:prstGeom>
        </p:spPr>
      </p:pic>
      <p:pic>
        <p:nvPicPr>
          <p:cNvPr id="7" name="Picture 6" descr="A blue and white logo&#10;&#10;Description automatically generated">
            <a:extLst>
              <a:ext uri="{FF2B5EF4-FFF2-40B4-BE49-F238E27FC236}">
                <a16:creationId xmlns:a16="http://schemas.microsoft.com/office/drawing/2014/main" id="{71B2AD1C-E9F2-D0BC-052B-B664954D52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7263" y="3762375"/>
            <a:ext cx="809625" cy="804862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676F39EB-DC97-0F5A-68E0-289D7F1C011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52204" y="1490495"/>
            <a:ext cx="766432" cy="667022"/>
          </a:xfrm>
          <a:prstGeom prst="rect">
            <a:avLst/>
          </a:prstGeom>
        </p:spPr>
      </p:pic>
      <p:pic>
        <p:nvPicPr>
          <p:cNvPr id="13" name="Picture 12" descr="A green text on a black background&#10;&#10;Description automatically generated">
            <a:extLst>
              <a:ext uri="{FF2B5EF4-FFF2-40B4-BE49-F238E27FC236}">
                <a16:creationId xmlns:a16="http://schemas.microsoft.com/office/drawing/2014/main" id="{D34C8300-7686-48F4-19F5-5945CA70569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4832" y="2615332"/>
            <a:ext cx="968619" cy="573314"/>
          </a:xfrm>
          <a:prstGeom prst="rect">
            <a:avLst/>
          </a:prstGeom>
        </p:spPr>
      </p:pic>
      <p:pic>
        <p:nvPicPr>
          <p:cNvPr id="16" name="Picture 15" descr="A black and orange feather with black letters&#10;&#10;Description automatically generated with medium confidence">
            <a:extLst>
              <a:ext uri="{FF2B5EF4-FFF2-40B4-BE49-F238E27FC236}">
                <a16:creationId xmlns:a16="http://schemas.microsoft.com/office/drawing/2014/main" id="{17316286-BA20-8430-705B-254C611B1EB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206" y="3990740"/>
            <a:ext cx="1481083" cy="527990"/>
          </a:xfrm>
          <a:prstGeom prst="rect">
            <a:avLst/>
          </a:prstGeom>
        </p:spPr>
      </p:pic>
      <p:pic>
        <p:nvPicPr>
          <p:cNvPr id="20" name="Picture 19" descr="A cartoon of a person in a suit&#10;&#10;Description automatically generated">
            <a:extLst>
              <a:ext uri="{FF2B5EF4-FFF2-40B4-BE49-F238E27FC236}">
                <a16:creationId xmlns:a16="http://schemas.microsoft.com/office/drawing/2014/main" id="{291BC3EE-2CF0-AEE3-5373-38D3E980640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68200" y="2498839"/>
            <a:ext cx="1038225" cy="738189"/>
          </a:xfrm>
          <a:prstGeom prst="rect">
            <a:avLst/>
          </a:prstGeom>
        </p:spPr>
      </p:pic>
      <p:pic>
        <p:nvPicPr>
          <p:cNvPr id="22" name="Picture 21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29B61567-7AC3-C376-9171-C7B566B7FA6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120" y="3796763"/>
            <a:ext cx="1304187" cy="501955"/>
          </a:xfrm>
          <a:prstGeom prst="rect">
            <a:avLst/>
          </a:prstGeom>
        </p:spPr>
      </p:pic>
      <p:pic>
        <p:nvPicPr>
          <p:cNvPr id="24" name="Picture 23" descr="A blue whale with a container on it&#10;&#10;Description automatically generated">
            <a:extLst>
              <a:ext uri="{FF2B5EF4-FFF2-40B4-BE49-F238E27FC236}">
                <a16:creationId xmlns:a16="http://schemas.microsoft.com/office/drawing/2014/main" id="{5412855A-35C8-667B-0CA1-9D6FA8073B19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58" y="4913218"/>
            <a:ext cx="821257" cy="697769"/>
          </a:xfrm>
          <a:prstGeom prst="rect">
            <a:avLst/>
          </a:prstGeom>
        </p:spPr>
      </p:pic>
      <p:pic>
        <p:nvPicPr>
          <p:cNvPr id="26" name="Picture 25" descr="A blue hexagon with a white wheel and black text&#10;&#10;Description automatically generated">
            <a:extLst>
              <a:ext uri="{FF2B5EF4-FFF2-40B4-BE49-F238E27FC236}">
                <a16:creationId xmlns:a16="http://schemas.microsoft.com/office/drawing/2014/main" id="{2C68E379-6005-1F4A-AA90-A1522F96DE1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53287" y="1466850"/>
            <a:ext cx="1171575" cy="671513"/>
          </a:xfrm>
          <a:prstGeom prst="rect">
            <a:avLst/>
          </a:prstGeom>
        </p:spPr>
      </p:pic>
      <p:pic>
        <p:nvPicPr>
          <p:cNvPr id="29" name="Picture 28" descr="A logo of a cloud&#10;&#10;Description automatically generated">
            <a:extLst>
              <a:ext uri="{FF2B5EF4-FFF2-40B4-BE49-F238E27FC236}">
                <a16:creationId xmlns:a16="http://schemas.microsoft.com/office/drawing/2014/main" id="{0E1A658B-7513-193B-2E56-FF17D19B637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0071" y="2517334"/>
            <a:ext cx="739752" cy="749436"/>
          </a:xfrm>
          <a:prstGeom prst="rect">
            <a:avLst/>
          </a:prstGeom>
        </p:spPr>
      </p:pic>
      <p:pic>
        <p:nvPicPr>
          <p:cNvPr id="30" name="Picture 29" descr="A red and black logo&#10;&#10;Description automatically generated">
            <a:extLst>
              <a:ext uri="{FF2B5EF4-FFF2-40B4-BE49-F238E27FC236}">
                <a16:creationId xmlns:a16="http://schemas.microsoft.com/office/drawing/2014/main" id="{7D51582E-C8CC-38CB-D554-B80718DAF91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24399" y="1554956"/>
            <a:ext cx="1328738" cy="495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56863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0741B-C85A-738D-E83A-A0DE3C708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06228"/>
          </a:xfrm>
        </p:spPr>
        <p:txBody>
          <a:bodyPr>
            <a:normAutofit/>
          </a:bodyPr>
          <a:lstStyle/>
          <a:p>
            <a:r>
              <a:rPr lang="en-US"/>
              <a:t>Additional Project Features </a:t>
            </a:r>
            <a:r>
              <a:rPr lang="en-US" sz="4400">
                <a:solidFill>
                  <a:schemeClr val="tx1"/>
                </a:solidFill>
              </a:rPr>
              <a:t>implemented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E6EFC0-85F1-9AEA-D92A-FE350F3200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FDC2F5-56BE-A809-18CC-5D515FA36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52</a:t>
            </a:fld>
            <a:endParaRPr lang="en-IN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FB4571A-D79D-CFA1-F191-DB8F685E4C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216384"/>
              </p:ext>
            </p:extLst>
          </p:nvPr>
        </p:nvGraphicFramePr>
        <p:xfrm>
          <a:off x="2032000" y="1537855"/>
          <a:ext cx="8128000" cy="46004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0206163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07EF6B7-1338-4443-8C46-6A318D952D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AAE4CDD-124C-4DCF-9584-B6033B545D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4167271" cy="6858000"/>
          </a:xfrm>
          <a:custGeom>
            <a:avLst/>
            <a:gdLst>
              <a:gd name="connsiteX0" fmla="*/ 0 w 4167271"/>
              <a:gd name="connsiteY0" fmla="*/ 0 h 6858000"/>
              <a:gd name="connsiteX1" fmla="*/ 2259550 w 4167271"/>
              <a:gd name="connsiteY1" fmla="*/ 0 h 6858000"/>
              <a:gd name="connsiteX2" fmla="*/ 2387803 w 4167271"/>
              <a:gd name="connsiteY2" fmla="*/ 82222 h 6858000"/>
              <a:gd name="connsiteX3" fmla="*/ 4167271 w 4167271"/>
              <a:gd name="connsiteY3" fmla="*/ 3429000 h 6858000"/>
              <a:gd name="connsiteX4" fmla="*/ 2387803 w 4167271"/>
              <a:gd name="connsiteY4" fmla="*/ 6775779 h 6858000"/>
              <a:gd name="connsiteX5" fmla="*/ 2259550 w 4167271"/>
              <a:gd name="connsiteY5" fmla="*/ 6858000 h 6858000"/>
              <a:gd name="connsiteX6" fmla="*/ 0 w 416727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67271" h="6858000">
                <a:moveTo>
                  <a:pt x="0" y="0"/>
                </a:moveTo>
                <a:lnTo>
                  <a:pt x="2259550" y="0"/>
                </a:lnTo>
                <a:lnTo>
                  <a:pt x="2387803" y="82222"/>
                </a:lnTo>
                <a:cubicBezTo>
                  <a:pt x="3461407" y="807534"/>
                  <a:pt x="4167271" y="2035835"/>
                  <a:pt x="4167271" y="3429000"/>
                </a:cubicBezTo>
                <a:cubicBezTo>
                  <a:pt x="4167271" y="4822165"/>
                  <a:pt x="3461407" y="6050467"/>
                  <a:pt x="2387803" y="6775779"/>
                </a:cubicBezTo>
                <a:lnTo>
                  <a:pt x="22595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64AC45-8F59-445C-5E25-1942A6359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4" y="1153572"/>
            <a:ext cx="3200400" cy="44611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eference </a:t>
            </a:r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081E4A58-353D-44AE-B2FC-2A74E2E40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7550402" y="2455479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639FB-E0AC-3DBC-7D32-CCE7B13FE2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7308" y="266008"/>
            <a:ext cx="6906491" cy="591095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Git: </a:t>
            </a:r>
            <a:r>
              <a:rPr lang="en-US" sz="1800">
                <a:solidFill>
                  <a:schemeClr val="tx1"/>
                </a:solidFill>
                <a:latin typeface="+mn-lt"/>
                <a:cs typeface="+mn-cs"/>
                <a:hlinkClick r:id="rId3"/>
              </a:rPr>
              <a:t>https://github.com/walmart-2023-sep-ascend/Team08-OrderHistoryTracker</a:t>
            </a: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walmart-2023-sep-ascend/Team08-OrderNotification</a:t>
            </a:r>
            <a:endParaRPr lang="en-US" sz="1800">
              <a:solidFill>
                <a:schemeClr val="tx1"/>
              </a:solidFill>
              <a:latin typeface="+mn-lt"/>
              <a:cs typeface="Arial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Arial"/>
                <a:hlinkClick r:id="rId5"/>
              </a:rPr>
              <a:t>https://github.com/walmart-2023-sep-ascend/Team08-OrderSupport-Return/tree/OrderReturn-Updated</a:t>
            </a:r>
            <a:endParaRPr lang="en-US" sz="1800">
              <a:solidFill>
                <a:schemeClr val="tx1"/>
              </a:solidFill>
              <a:latin typeface="+mn-lt"/>
              <a:cs typeface="+mn-cs"/>
              <a:hlinkClick r:id="rId5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CICD Pipeline: </a:t>
            </a:r>
            <a:r>
              <a:rPr lang="en-US" sz="1800">
                <a:solidFill>
                  <a:schemeClr val="tx1"/>
                </a:solidFill>
                <a:latin typeface="+mn-lt"/>
                <a:cs typeface="+mn-cs"/>
                <a:hlinkClick r:id="rId6"/>
              </a:rPr>
              <a:t>http://34.125.137.138:8000/</a:t>
            </a: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SonarQube: </a:t>
            </a:r>
            <a:r>
              <a:rPr lang="en-US" sz="1800">
                <a:solidFill>
                  <a:schemeClr val="tx1"/>
                </a:solidFill>
                <a:latin typeface="+mn-lt"/>
                <a:cs typeface="+mn-cs"/>
                <a:hlinkClick r:id="rId7"/>
              </a:rPr>
              <a:t>http://34.125.137.138:9000/projects</a:t>
            </a: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 b="1" u="sng">
                <a:solidFill>
                  <a:schemeClr val="tx1"/>
                </a:solidFill>
                <a:latin typeface="+mn-lt"/>
                <a:cs typeface="+mn-cs"/>
              </a:rPr>
              <a:t>Test Result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Application log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Test Result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Document</a:t>
            </a:r>
            <a:endParaRPr lang="en-US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3F0D02-B7FA-C9B5-3ECB-C48A7E5EC7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541564" y="6356350"/>
            <a:ext cx="1812235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53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7970C7E1-107C-0067-C7C3-A818379133C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5626770"/>
              </p:ext>
            </p:extLst>
          </p:nvPr>
        </p:nvGraphicFramePr>
        <p:xfrm>
          <a:off x="8101794" y="3162992"/>
          <a:ext cx="2233473" cy="8835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8" imgW="1086840" imgH="431640" progId="Package">
                  <p:embed/>
                </p:oleObj>
              </mc:Choice>
              <mc:Fallback>
                <p:oleObj name="Packager Shell Object" showAsIcon="1" r:id="rId8" imgW="1086840" imgH="431640" progId="Package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7970C7E1-107C-0067-C7C3-A81837913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101794" y="3162992"/>
                        <a:ext cx="2233473" cy="8835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DAD2B44F-44C6-5384-0F26-311C941608B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639728"/>
              </p:ext>
            </p:extLst>
          </p:nvPr>
        </p:nvGraphicFramePr>
        <p:xfrm>
          <a:off x="7701458" y="4093160"/>
          <a:ext cx="3145483" cy="9684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0" imgW="1701000" imgH="431640" progId="Package">
                  <p:embed/>
                </p:oleObj>
              </mc:Choice>
              <mc:Fallback>
                <p:oleObj name="Packager Shell Object" showAsIcon="1" r:id="rId10" imgW="1701000" imgH="431640" progId="Packag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DAD2B44F-44C6-5384-0F26-311C94160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701458" y="4093160"/>
                        <a:ext cx="3145483" cy="9684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ED690A20-9C38-8C91-9020-E4752B59346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7025201"/>
              </p:ext>
            </p:extLst>
          </p:nvPr>
        </p:nvGraphicFramePr>
        <p:xfrm>
          <a:off x="8909859" y="5220241"/>
          <a:ext cx="914400" cy="788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12" imgW="914400" imgH="788760" progId="Word.Document.12">
                  <p:embed/>
                </p:oleObj>
              </mc:Choice>
              <mc:Fallback>
                <p:oleObj name="Document" showAsIcon="1" r:id="rId12" imgW="914400" imgH="788760" progId="Word.Document.12">
                  <p:embed/>
                  <p:pic>
                    <p:nvPicPr>
                      <p:cNvPr id="16" name="Object 15">
                        <a:extLst>
                          <a:ext uri="{FF2B5EF4-FFF2-40B4-BE49-F238E27FC236}">
                            <a16:creationId xmlns:a16="http://schemas.microsoft.com/office/drawing/2014/main" id="{ED690A20-9C38-8C91-9020-E4752B593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8909859" y="5220241"/>
                        <a:ext cx="914400" cy="788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3231586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3D2607-F6F8-F45E-7624-DDDA86949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723E9C-42FA-FF7F-212C-3D5AE6F17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54</a:t>
            </a:fld>
            <a:endParaRPr lang="en-IN"/>
          </a:p>
        </p:txBody>
      </p:sp>
      <p:pic>
        <p:nvPicPr>
          <p:cNvPr id="18" name="Picture 17" descr="A close-up of a website&#10;&#10;Description automatically generated">
            <a:extLst>
              <a:ext uri="{FF2B5EF4-FFF2-40B4-BE49-F238E27FC236}">
                <a16:creationId xmlns:a16="http://schemas.microsoft.com/office/drawing/2014/main" id="{747AC829-0903-0CD9-B3AA-97B344E5224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450231" cy="6220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5306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>
            <a:extLst>
              <a:ext uri="{FF2B5EF4-FFF2-40B4-BE49-F238E27FC236}">
                <a16:creationId xmlns:a16="http://schemas.microsoft.com/office/drawing/2014/main" id="{16C5FA50-8D52-4617-AF91-5C7B1C835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47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1E164B-B1E8-983A-E483-55D0F12CC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496" y="618681"/>
            <a:ext cx="2613872" cy="4794567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3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icroservice Architecture Diagram</a:t>
            </a:r>
          </a:p>
        </p:txBody>
      </p:sp>
      <p:sp>
        <p:nvSpPr>
          <p:cNvPr id="64" name="Rounded Rectangle 9">
            <a:extLst>
              <a:ext uri="{FF2B5EF4-FFF2-40B4-BE49-F238E27FC236}">
                <a16:creationId xmlns:a16="http://schemas.microsoft.com/office/drawing/2014/main" id="{E223798C-12AD-4B0C-A50C-D676347D67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3354" y="484632"/>
            <a:ext cx="8129016" cy="572414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diagram of a service&#10;&#10;Description automatically generated">
            <a:extLst>
              <a:ext uri="{FF2B5EF4-FFF2-40B4-BE49-F238E27FC236}">
                <a16:creationId xmlns:a16="http://schemas.microsoft.com/office/drawing/2014/main" id="{A1F64CA6-F076-C87E-8BFB-DFCCF3A5D6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795" b="1"/>
          <a:stretch/>
        </p:blipFill>
        <p:spPr>
          <a:xfrm>
            <a:off x="976251" y="942538"/>
            <a:ext cx="7163222" cy="4808332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668185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CBC8E-BCE4-318A-67AE-445FA982F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5D299A-8D69-DCE9-9CFD-2F3281D45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7</a:t>
            </a:fld>
            <a:endParaRPr lang="en-IN"/>
          </a:p>
        </p:txBody>
      </p:sp>
      <p:pic>
        <p:nvPicPr>
          <p:cNvPr id="5" name="Image 0" descr="preencoded.png">
            <a:extLst>
              <a:ext uri="{FF2B5EF4-FFF2-40B4-BE49-F238E27FC236}">
                <a16:creationId xmlns:a16="http://schemas.microsoft.com/office/drawing/2014/main" id="{BD8415A5-9197-BE0C-5620-5859C6C8DA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6" name="Shape 0">
            <a:extLst>
              <a:ext uri="{FF2B5EF4-FFF2-40B4-BE49-F238E27FC236}">
                <a16:creationId xmlns:a16="http://schemas.microsoft.com/office/drawing/2014/main" id="{7F73ACD8-AB5F-03CD-3345-DAC903D3316E}"/>
              </a:ext>
            </a:extLst>
          </p:cNvPr>
          <p:cNvSpPr/>
          <p:nvPr/>
        </p:nvSpPr>
        <p:spPr>
          <a:xfrm>
            <a:off x="-262235" y="-564833"/>
            <a:ext cx="14630400" cy="8229600"/>
          </a:xfrm>
          <a:prstGeom prst="rect">
            <a:avLst/>
          </a:prstGeom>
          <a:solidFill>
            <a:srgbClr val="F9F9FF">
              <a:alpha val="75000"/>
            </a:srgbClr>
          </a:solidFill>
          <a:ln w="13811">
            <a:solidFill>
              <a:srgbClr val="FFFFFF">
                <a:alpha val="64000"/>
              </a:srgbClr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8C09E464-68D7-459C-7D9C-6FBF927C1B7E}"/>
              </a:ext>
            </a:extLst>
          </p:cNvPr>
          <p:cNvSpPr/>
          <p:nvPr/>
        </p:nvSpPr>
        <p:spPr>
          <a:xfrm>
            <a:off x="1455367" y="1408858"/>
            <a:ext cx="4443889" cy="694373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>
              <a:lnSpc>
                <a:spcPts val="5468"/>
              </a:lnSpc>
              <a:buNone/>
            </a:pPr>
            <a:r>
              <a:rPr lang="en-US" sz="4374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Design</a:t>
            </a:r>
            <a:endParaRPr lang="en-US" sz="4374" dirty="0"/>
          </a:p>
        </p:txBody>
      </p:sp>
      <p:pic>
        <p:nvPicPr>
          <p:cNvPr id="8" name="Image 1" descr="preencoded.png">
            <a:extLst>
              <a:ext uri="{FF2B5EF4-FFF2-40B4-BE49-F238E27FC236}">
                <a16:creationId xmlns:a16="http://schemas.microsoft.com/office/drawing/2014/main" id="{F0118CD3-78C4-7FA6-D056-22407807D6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5893" y="2531507"/>
            <a:ext cx="3295888" cy="2036921"/>
          </a:xfrm>
          <a:prstGeom prst="rect">
            <a:avLst/>
          </a:prstGeom>
        </p:spPr>
      </p:pic>
      <p:sp>
        <p:nvSpPr>
          <p:cNvPr id="9" name="Text 2">
            <a:extLst>
              <a:ext uri="{FF2B5EF4-FFF2-40B4-BE49-F238E27FC236}">
                <a16:creationId xmlns:a16="http://schemas.microsoft.com/office/drawing/2014/main" id="{56A5F62A-B4AE-E63B-FFBE-43E1BE961FE9}"/>
              </a:ext>
            </a:extLst>
          </p:cNvPr>
          <p:cNvSpPr/>
          <p:nvPr/>
        </p:nvSpPr>
        <p:spPr>
          <a:xfrm>
            <a:off x="1827600" y="4672489"/>
            <a:ext cx="2221944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l">
              <a:lnSpc>
                <a:spcPts val="2734"/>
              </a:lnSpc>
              <a:buNone/>
            </a:pPr>
            <a:r>
              <a:rPr lang="en-US" sz="2187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User Experience</a:t>
            </a:r>
            <a:endParaRPr lang="en-US" sz="2187" dirty="0"/>
          </a:p>
        </p:txBody>
      </p:sp>
      <p:sp>
        <p:nvSpPr>
          <p:cNvPr id="10" name="Text 3">
            <a:extLst>
              <a:ext uri="{FF2B5EF4-FFF2-40B4-BE49-F238E27FC236}">
                <a16:creationId xmlns:a16="http://schemas.microsoft.com/office/drawing/2014/main" id="{30382EE9-2941-7AFD-FC20-63595127253E}"/>
              </a:ext>
            </a:extLst>
          </p:cNvPr>
          <p:cNvSpPr/>
          <p:nvPr/>
        </p:nvSpPr>
        <p:spPr>
          <a:xfrm>
            <a:off x="1455367" y="5415439"/>
            <a:ext cx="3295888" cy="142160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lnSpc>
                <a:spcPts val="2799"/>
              </a:lnSpc>
              <a:buNone/>
            </a:pPr>
            <a:r>
              <a:rPr lang="en-US" sz="1750" dirty="0">
                <a:solidFill>
                  <a:srgbClr val="404155"/>
                </a:solidFill>
                <a:latin typeface="Nobile" pitchFamily="34" charset="0"/>
                <a:ea typeface="Nobile" pitchFamily="34" charset="-122"/>
                <a:cs typeface="Nobile" pitchFamily="34" charset="-120"/>
              </a:rPr>
              <a:t>Provide an intuitive rating system with 5-star appearances and straightforward mechanism.</a:t>
            </a:r>
            <a:endParaRPr lang="en-US" sz="1750" dirty="0"/>
          </a:p>
        </p:txBody>
      </p:sp>
      <p:pic>
        <p:nvPicPr>
          <p:cNvPr id="11" name="Image 2" descr="preencoded.png">
            <a:extLst>
              <a:ext uri="{FF2B5EF4-FFF2-40B4-BE49-F238E27FC236}">
                <a16:creationId xmlns:a16="http://schemas.microsoft.com/office/drawing/2014/main" id="{6BB6E726-9FC9-95AD-CA49-1F60970A89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97304" y="2493569"/>
            <a:ext cx="3296007" cy="2037040"/>
          </a:xfrm>
          <a:prstGeom prst="rect">
            <a:avLst/>
          </a:prstGeom>
        </p:spPr>
      </p:pic>
      <p:sp>
        <p:nvSpPr>
          <p:cNvPr id="12" name="Text 4">
            <a:extLst>
              <a:ext uri="{FF2B5EF4-FFF2-40B4-BE49-F238E27FC236}">
                <a16:creationId xmlns:a16="http://schemas.microsoft.com/office/drawing/2014/main" id="{C6985123-58E0-A566-F9FC-7673A126B52F}"/>
              </a:ext>
            </a:extLst>
          </p:cNvPr>
          <p:cNvSpPr/>
          <p:nvPr/>
        </p:nvSpPr>
        <p:spPr>
          <a:xfrm>
            <a:off x="5475625" y="4672489"/>
            <a:ext cx="2545080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l">
              <a:lnSpc>
                <a:spcPts val="2734"/>
              </a:lnSpc>
              <a:buNone/>
            </a:pPr>
            <a:r>
              <a:rPr lang="en-US" sz="2187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Customer Feedback</a:t>
            </a:r>
            <a:endParaRPr lang="en-US" sz="2187" dirty="0"/>
          </a:p>
        </p:txBody>
      </p:sp>
      <p:sp>
        <p:nvSpPr>
          <p:cNvPr id="13" name="Text 5">
            <a:extLst>
              <a:ext uri="{FF2B5EF4-FFF2-40B4-BE49-F238E27FC236}">
                <a16:creationId xmlns:a16="http://schemas.microsoft.com/office/drawing/2014/main" id="{21213AC9-CB65-829D-1AEA-7E7779D197C8}"/>
              </a:ext>
            </a:extLst>
          </p:cNvPr>
          <p:cNvSpPr/>
          <p:nvPr/>
        </p:nvSpPr>
        <p:spPr>
          <a:xfrm>
            <a:off x="5513388" y="5417306"/>
            <a:ext cx="3296007" cy="1066205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lnSpc>
                <a:spcPts val="2799"/>
              </a:lnSpc>
              <a:buNone/>
            </a:pPr>
            <a:r>
              <a:rPr lang="en-US" sz="1750" dirty="0">
                <a:solidFill>
                  <a:srgbClr val="404155"/>
                </a:solidFill>
                <a:latin typeface="Nobile" pitchFamily="34" charset="0"/>
                <a:ea typeface="Nobile" pitchFamily="34" charset="-122"/>
                <a:cs typeface="Nobile" pitchFamily="34" charset="-120"/>
              </a:rPr>
              <a:t>Provide a section to write a review, feedback or ask for help.</a:t>
            </a:r>
            <a:endParaRPr lang="en-US" sz="1750" dirty="0"/>
          </a:p>
        </p:txBody>
      </p:sp>
      <p:pic>
        <p:nvPicPr>
          <p:cNvPr id="14" name="Image 3" descr="preencoded.png">
            <a:extLst>
              <a:ext uri="{FF2B5EF4-FFF2-40B4-BE49-F238E27FC236}">
                <a16:creationId xmlns:a16="http://schemas.microsoft.com/office/drawing/2014/main" id="{BCB01FD9-1AA7-662A-E1FF-1C04FE3DC8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83849" y="2531507"/>
            <a:ext cx="3027621" cy="1871169"/>
          </a:xfrm>
          <a:prstGeom prst="rect">
            <a:avLst/>
          </a:prstGeom>
        </p:spPr>
      </p:pic>
      <p:sp>
        <p:nvSpPr>
          <p:cNvPr id="15" name="Text 6">
            <a:extLst>
              <a:ext uri="{FF2B5EF4-FFF2-40B4-BE49-F238E27FC236}">
                <a16:creationId xmlns:a16="http://schemas.microsoft.com/office/drawing/2014/main" id="{0503AA22-F8FC-83D6-7069-13496F16B73C}"/>
              </a:ext>
            </a:extLst>
          </p:cNvPr>
          <p:cNvSpPr/>
          <p:nvPr/>
        </p:nvSpPr>
        <p:spPr>
          <a:xfrm>
            <a:off x="9446786" y="4568428"/>
            <a:ext cx="2377440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l">
              <a:lnSpc>
                <a:spcPts val="2734"/>
              </a:lnSpc>
              <a:buNone/>
            </a:pPr>
            <a:r>
              <a:rPr lang="en-US" sz="2187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Admin Dashboard</a:t>
            </a:r>
            <a:endParaRPr lang="en-US" sz="2187" dirty="0"/>
          </a:p>
        </p:txBody>
      </p:sp>
      <p:sp>
        <p:nvSpPr>
          <p:cNvPr id="16" name="Text 7">
            <a:extLst>
              <a:ext uri="{FF2B5EF4-FFF2-40B4-BE49-F238E27FC236}">
                <a16:creationId xmlns:a16="http://schemas.microsoft.com/office/drawing/2014/main" id="{BAC8D044-355E-6F89-4FA0-A184A185A074}"/>
              </a:ext>
            </a:extLst>
          </p:cNvPr>
          <p:cNvSpPr/>
          <p:nvPr/>
        </p:nvSpPr>
        <p:spPr>
          <a:xfrm>
            <a:off x="9374772" y="5351679"/>
            <a:ext cx="2817228" cy="940911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lnSpc>
                <a:spcPts val="2799"/>
              </a:lnSpc>
              <a:buNone/>
            </a:pPr>
            <a:r>
              <a:rPr lang="en-US" sz="1750" dirty="0">
                <a:solidFill>
                  <a:srgbClr val="404155"/>
                </a:solidFill>
                <a:latin typeface="Nobile" pitchFamily="34" charset="0"/>
                <a:ea typeface="Nobile" pitchFamily="34" charset="-122"/>
                <a:cs typeface="Nobile" pitchFamily="34" charset="-120"/>
              </a:rPr>
              <a:t>A dashboard to monitor reviews, approve &amp; Reject.</a:t>
            </a:r>
            <a:endParaRPr lang="en-US" sz="1750" dirty="0"/>
          </a:p>
        </p:txBody>
      </p:sp>
    </p:spTree>
    <p:extLst>
      <p:ext uri="{BB962C8B-B14F-4D97-AF65-F5344CB8AC3E}">
        <p14:creationId xmlns:p14="http://schemas.microsoft.com/office/powerpoint/2010/main" val="35491373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gle" panose="020B0503020203060203" pitchFamily="34" charset="0"/>
              </a:rPr>
              <a:t>Capstone Project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gle" panose="020B050302020306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F24C8C3-A2D6-53BF-91F3-D85D9910D28A}"/>
              </a:ext>
            </a:extLst>
          </p:cNvPr>
          <p:cNvSpPr txBox="1"/>
          <p:nvPr/>
        </p:nvSpPr>
        <p:spPr>
          <a:xfrm>
            <a:off x="8539322" y="3999452"/>
            <a:ext cx="3065751" cy="1997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/>
              <a:t>Back End</a:t>
            </a:r>
            <a:r>
              <a:rPr lang="en-US" sz="1200" dirty="0"/>
              <a:t>: Spring Boot framework + Java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Database</a:t>
            </a:r>
            <a:r>
              <a:rPr lang="en-US" sz="1200" dirty="0"/>
              <a:t> : MongoDB Atlas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Logging: </a:t>
            </a:r>
            <a:r>
              <a:rPr lang="en-US" sz="1200" dirty="0"/>
              <a:t>Sl4J Logger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Container</a:t>
            </a:r>
            <a:r>
              <a:rPr lang="en-US" sz="1200" dirty="0"/>
              <a:t>: Docker images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CICD: </a:t>
            </a:r>
            <a:r>
              <a:rPr lang="en-US" sz="1200" dirty="0"/>
              <a:t>Git-Action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Hosted Cloud: </a:t>
            </a:r>
            <a:r>
              <a:rPr lang="en-US" sz="1200" dirty="0"/>
              <a:t>Azure VM</a:t>
            </a:r>
          </a:p>
          <a:p>
            <a:pPr>
              <a:lnSpc>
                <a:spcPct val="150000"/>
              </a:lnSpc>
            </a:pPr>
            <a:r>
              <a:rPr lang="en-US" sz="1200" b="1" dirty="0" err="1"/>
              <a:t>FrontEnd</a:t>
            </a:r>
            <a:r>
              <a:rPr lang="en-US" sz="1200" b="1" dirty="0"/>
              <a:t>: </a:t>
            </a:r>
            <a:r>
              <a:rPr lang="en-US" sz="1200" dirty="0"/>
              <a:t>JavaScript</a:t>
            </a:r>
            <a:endParaRPr lang="en-US" sz="1200" b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C4D893-CC5E-61B5-A7B3-68AB9EB74435}"/>
              </a:ext>
            </a:extLst>
          </p:cNvPr>
          <p:cNvSpPr/>
          <p:nvPr/>
        </p:nvSpPr>
        <p:spPr>
          <a:xfrm>
            <a:off x="598220" y="1224357"/>
            <a:ext cx="11316159" cy="257903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1AC7C39-ECBF-5F85-81F1-3533371B0C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633" y="1720008"/>
            <a:ext cx="4583421" cy="1533021"/>
          </a:xfrm>
          <a:prstGeom prst="rect">
            <a:avLst/>
          </a:prstGeom>
          <a:ln w="127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91E231F-C8CA-3599-2627-E413F0474E9E}"/>
              </a:ext>
            </a:extLst>
          </p:cNvPr>
          <p:cNvSpPr/>
          <p:nvPr/>
        </p:nvSpPr>
        <p:spPr>
          <a:xfrm>
            <a:off x="2932386" y="1422838"/>
            <a:ext cx="3208283" cy="24042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ystem Architecture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7058DF1-02AA-D6E0-39F6-44C2663301E2}"/>
              </a:ext>
            </a:extLst>
          </p:cNvPr>
          <p:cNvGraphicFramePr>
            <a:graphicFrameLocks noGrp="1"/>
          </p:cNvGraphicFramePr>
          <p:nvPr/>
        </p:nvGraphicFramePr>
        <p:xfrm>
          <a:off x="934106" y="3951805"/>
          <a:ext cx="7195673" cy="22046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8005">
                  <a:extLst>
                    <a:ext uri="{9D8B030D-6E8A-4147-A177-3AD203B41FA5}">
                      <a16:colId xmlns:a16="http://schemas.microsoft.com/office/drawing/2014/main" val="3500748744"/>
                    </a:ext>
                  </a:extLst>
                </a:gridCol>
                <a:gridCol w="5377668">
                  <a:extLst>
                    <a:ext uri="{9D8B030D-6E8A-4147-A177-3AD203B41FA5}">
                      <a16:colId xmlns:a16="http://schemas.microsoft.com/office/drawing/2014/main" val="399426224"/>
                    </a:ext>
                  </a:extLst>
                </a:gridCol>
              </a:tblGrid>
              <a:tr h="29592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o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in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1551129"/>
                  </a:ext>
                </a:extLst>
              </a:tr>
              <a:tr h="269026">
                <a:tc>
                  <a:txBody>
                    <a:bodyPr/>
                    <a:lstStyle/>
                    <a:p>
                      <a:r>
                        <a:rPr lang="en-US" sz="1400" dirty="0"/>
                        <a:t>GitHub Reposit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Team09_BackendCode</a:t>
                      </a:r>
                      <a:endParaRPr lang="en-US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9692547"/>
                  </a:ext>
                </a:extLst>
              </a:tr>
              <a:tr h="2690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/>
                        <a:t>DockerHub</a:t>
                      </a:r>
                      <a:r>
                        <a:rPr lang="en-US" sz="1400" dirty="0"/>
                        <a:t> Image</a:t>
                      </a:r>
                      <a:endParaRPr lang="en-US" sz="1400" b="1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danicoolbug/cusreviewhub</a:t>
                      </a:r>
                      <a:endParaRPr lang="en-US" sz="14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7180948"/>
                  </a:ext>
                </a:extLst>
              </a:tr>
              <a:tr h="269026">
                <a:tc>
                  <a:txBody>
                    <a:bodyPr/>
                    <a:lstStyle/>
                    <a:p>
                      <a:r>
                        <a:rPr lang="en-US" sz="1400" dirty="0"/>
                        <a:t>CI/CD- </a:t>
                      </a:r>
                      <a:r>
                        <a:rPr lang="en-US" sz="1400" dirty="0" err="1"/>
                        <a:t>GitAc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hlinkClick r:id="rId5"/>
                        </a:rPr>
                        <a:t>Project CICD Flow</a:t>
                      </a:r>
                      <a:endParaRPr lang="en-US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0622792"/>
                  </a:ext>
                </a:extLst>
              </a:tr>
              <a:tr h="45734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zure VM (Group 4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oup: team9-vm, Public IP: 40.117.126.242,</a:t>
                      </a:r>
                      <a:b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NS: </a:t>
                      </a:r>
                      <a:r>
                        <a:rPr lang="en-IN" sz="14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ustomerrating.eastus.cloudapp.azure.com</a:t>
                      </a:r>
                      <a:endParaRPr lang="en-I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5479339"/>
                  </a:ext>
                </a:extLst>
              </a:tr>
              <a:tr h="4368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ostman Coll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Team9 Postman Collection</a:t>
                      </a:r>
                      <a:endParaRPr lang="en-I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0617946"/>
                  </a:ext>
                </a:extLst>
              </a:tr>
            </a:tbl>
          </a:graphicData>
        </a:graphic>
      </p:graphicFrame>
      <p:pic>
        <p:nvPicPr>
          <p:cNvPr id="28" name="Picture 27" descr="A group of logos with different colors&#10;&#10;Description automatically generated">
            <a:extLst>
              <a:ext uri="{FF2B5EF4-FFF2-40B4-BE49-F238E27FC236}">
                <a16:creationId xmlns:a16="http://schemas.microsoft.com/office/drawing/2014/main" id="{DF1F72C3-C60B-B1FB-4CE8-B361E962ECA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320" y="1758600"/>
            <a:ext cx="6204459" cy="1494429"/>
          </a:xfrm>
          <a:prstGeom prst="rect">
            <a:avLst/>
          </a:prstGeom>
          <a:ln w="1905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3CE6C95E-73BD-5392-79EA-B711FF02AE9C}"/>
              </a:ext>
            </a:extLst>
          </p:cNvPr>
          <p:cNvSpPr/>
          <p:nvPr/>
        </p:nvSpPr>
        <p:spPr>
          <a:xfrm>
            <a:off x="8535075" y="3963242"/>
            <a:ext cx="2933484" cy="2193205"/>
          </a:xfrm>
          <a:prstGeom prst="rect">
            <a:avLst/>
          </a:prstGeom>
          <a:noFill/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1533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554F3-BB54-637F-D835-5614B18E3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 					</a:t>
            </a:r>
            <a:r>
              <a:rPr lang="en-IN" sz="1600" b="1" i="0" u="sng" dirty="0">
                <a:effectLst/>
              </a:rPr>
              <a:t>REST API Documentation</a:t>
            </a:r>
            <a:endParaRPr lang="en-US" sz="2800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72E471-7C0D-A798-AB36-DDDA8BC54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9</a:t>
            </a:fld>
            <a:endParaRPr lang="en-IN"/>
          </a:p>
        </p:txBody>
      </p:sp>
      <p:graphicFrame>
        <p:nvGraphicFramePr>
          <p:cNvPr id="5" name="Table 16">
            <a:extLst>
              <a:ext uri="{FF2B5EF4-FFF2-40B4-BE49-F238E27FC236}">
                <a16:creationId xmlns:a16="http://schemas.microsoft.com/office/drawing/2014/main" id="{3C804C0D-50A4-7273-9A8A-3F748D46C074}"/>
              </a:ext>
            </a:extLst>
          </p:cNvPr>
          <p:cNvGraphicFramePr>
            <a:graphicFrameLocks noGrp="1"/>
          </p:cNvGraphicFramePr>
          <p:nvPr/>
        </p:nvGraphicFramePr>
        <p:xfrm>
          <a:off x="294640" y="619761"/>
          <a:ext cx="11490960" cy="5687386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497215">
                  <a:extLst>
                    <a:ext uri="{9D8B030D-6E8A-4147-A177-3AD203B41FA5}">
                      <a16:colId xmlns:a16="http://schemas.microsoft.com/office/drawing/2014/main" val="1391599254"/>
                    </a:ext>
                  </a:extLst>
                </a:gridCol>
                <a:gridCol w="3846945">
                  <a:extLst>
                    <a:ext uri="{9D8B030D-6E8A-4147-A177-3AD203B41FA5}">
                      <a16:colId xmlns:a16="http://schemas.microsoft.com/office/drawing/2014/main" val="2372768382"/>
                    </a:ext>
                  </a:extLst>
                </a:gridCol>
                <a:gridCol w="1051212">
                  <a:extLst>
                    <a:ext uri="{9D8B030D-6E8A-4147-A177-3AD203B41FA5}">
                      <a16:colId xmlns:a16="http://schemas.microsoft.com/office/drawing/2014/main" val="4024298078"/>
                    </a:ext>
                  </a:extLst>
                </a:gridCol>
                <a:gridCol w="5095588">
                  <a:extLst>
                    <a:ext uri="{9D8B030D-6E8A-4147-A177-3AD203B41FA5}">
                      <a16:colId xmlns:a16="http://schemas.microsoft.com/office/drawing/2014/main" val="543828181"/>
                    </a:ext>
                  </a:extLst>
                </a:gridCol>
              </a:tblGrid>
              <a:tr h="383866"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TY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Descrip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HTTP Metho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API Endpoi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7008529"/>
                  </a:ext>
                </a:extLst>
              </a:tr>
              <a:tr h="531507">
                <a:tc rowSpan="5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MAIN USECASE’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Logged in customers can write review comments and ratings for products(Saves in temporary DB collection for Admin Approval and mail the status to customer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latin typeface="+mn-lt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approval/10/comment</a:t>
                      </a:r>
                      <a:endParaRPr lang="en-IN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312404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trieve Customer Ratings submitted for Admin Approvals for all produc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</a:t>
                      </a: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ustomerrating.eastus.cloudapp.azure.com</a:t>
                      </a: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:9801/api/approval/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9445520"/>
                  </a:ext>
                </a:extLst>
              </a:tr>
              <a:tr h="546938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ce Admin Approves in frontend, Customer rating is moved to the main product collection if not approved email is triggered to customer with reason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3109781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Delete an existing Rating from Temp Collec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LE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approval/delete/34/Muthu</a:t>
                      </a:r>
                      <a:endParaRPr lang="en-IN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5886646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trieve existing Customer Rating &amp; Comment of a specific product in ecommerce websi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25/by-ratings/3</a:t>
                      </a:r>
                      <a:endParaRPr lang="en-IN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690974"/>
                  </a:ext>
                </a:extLst>
              </a:tr>
              <a:tr h="620092">
                <a:tc rowSpan="5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CEP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Request with incorrect Product ID</a:t>
                      </a: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560/by-ratings/3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5462840"/>
                  </a:ext>
                </a:extLst>
              </a:tr>
              <a:tr h="620092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Request with incorrect Star Rat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5/by-ratings/10123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1692190"/>
                  </a:ext>
                </a:extLst>
              </a:tr>
              <a:tr h="620092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ding Rating to main DB without user email addres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2707627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ding Rating to main DB without Admin Approv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5584432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pPr algn="ctr"/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can update the Rating &amp; Comment when until it is approved and will only be overriding avoiding duplicate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4772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69179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</TotalTime>
  <Words>2967</Words>
  <Application>Microsoft Office PowerPoint</Application>
  <PresentationFormat>Widescreen</PresentationFormat>
  <Paragraphs>584</Paragraphs>
  <Slides>5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54</vt:i4>
      </vt:variant>
    </vt:vector>
  </HeadingPairs>
  <TitlesOfParts>
    <vt:vector size="71" baseType="lpstr">
      <vt:lpstr>Arial</vt:lpstr>
      <vt:lpstr>Bogle</vt:lpstr>
      <vt:lpstr>Book Antiqua</vt:lpstr>
      <vt:lpstr>Calibri</vt:lpstr>
      <vt:lpstr>Calibri Light</vt:lpstr>
      <vt:lpstr>Corben</vt:lpstr>
      <vt:lpstr>Google Sans</vt:lpstr>
      <vt:lpstr>Helvetica Neue</vt:lpstr>
      <vt:lpstr>Inter</vt:lpstr>
      <vt:lpstr>Nobile</vt:lpstr>
      <vt:lpstr>Slack-Lato</vt:lpstr>
      <vt:lpstr>Söhne</vt:lpstr>
      <vt:lpstr>Wingdings</vt:lpstr>
      <vt:lpstr>Office Theme</vt:lpstr>
      <vt:lpstr>think-cell Slide</vt:lpstr>
      <vt:lpstr>Packager Shell Object</vt:lpstr>
      <vt:lpstr>Document</vt:lpstr>
      <vt:lpstr>PowerPoint Presentation</vt:lpstr>
      <vt:lpstr>PowerPoint Presentation</vt:lpstr>
      <vt:lpstr>Team8 Introduction</vt:lpstr>
      <vt:lpstr>PowerPoint Presentation</vt:lpstr>
      <vt:lpstr>Order Management and Customer Support System(OMCSS) </vt:lpstr>
      <vt:lpstr>Microservice Architecture Diagram</vt:lpstr>
      <vt:lpstr>PowerPoint Presentation</vt:lpstr>
      <vt:lpstr>PowerPoint Presentation</vt:lpstr>
      <vt:lpstr>      REST API Documentation</vt:lpstr>
      <vt:lpstr>Use Case Diagram</vt:lpstr>
      <vt:lpstr>Sequence Diagram</vt:lpstr>
      <vt:lpstr>PowerPoint Presentation</vt:lpstr>
      <vt:lpstr>PowerPoint Presentation</vt:lpstr>
      <vt:lpstr>Order History API Integration with  Front End and Swagger </vt:lpstr>
      <vt:lpstr>Order History Solution Design </vt:lpstr>
      <vt:lpstr>OrderHistory Class Diagram </vt:lpstr>
      <vt:lpstr>Order History API Contract </vt:lpstr>
      <vt:lpstr>Order Tracker Class Diagram and Use case diagram</vt:lpstr>
      <vt:lpstr>Order Tracker swagger</vt:lpstr>
      <vt:lpstr>Order Tracker frontend</vt:lpstr>
      <vt:lpstr>Order Return Class Diagram and use case diagram</vt:lpstr>
      <vt:lpstr>Output Results</vt:lpstr>
      <vt:lpstr>Order Notification Service</vt:lpstr>
      <vt:lpstr>Order Notification Class Diagram</vt:lpstr>
      <vt:lpstr>Support Ticket Service</vt:lpstr>
      <vt:lpstr>                    Support Ticket Service – Class Diagram</vt:lpstr>
      <vt:lpstr>CICD pipeline Integration </vt:lpstr>
      <vt:lpstr>SonarQube Integration </vt:lpstr>
      <vt:lpstr>Kubernetes Deployment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apstone Project Solution Implementation [FrontEnd] </vt:lpstr>
      <vt:lpstr>Frontend Response</vt:lpstr>
      <vt:lpstr>Authentication </vt:lpstr>
      <vt:lpstr>Authorization</vt:lpstr>
      <vt:lpstr>Best Practice in Development  </vt:lpstr>
      <vt:lpstr>PowerPoint Presentation</vt:lpstr>
      <vt:lpstr>Challenges &amp; Learnings  </vt:lpstr>
      <vt:lpstr>PowerPoint Presentation</vt:lpstr>
      <vt:lpstr>PowerPoint Presentation</vt:lpstr>
      <vt:lpstr>Tech Stack Used</vt:lpstr>
      <vt:lpstr>Additional Project Features implemented</vt:lpstr>
      <vt:lpstr>Reference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Sathishkumar P H</cp:lastModifiedBy>
  <cp:revision>6</cp:revision>
  <dcterms:created xsi:type="dcterms:W3CDTF">2022-01-18T12:35:56Z</dcterms:created>
  <dcterms:modified xsi:type="dcterms:W3CDTF">2023-12-15T13:3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MSIP_Label_b24820e8-223f-4ed2-bd95-81c83f641284_Enabled">
    <vt:lpwstr>true</vt:lpwstr>
  </property>
  <property fmtid="{D5CDD505-2E9C-101B-9397-08002B2CF9AE}" pid="5" name="MSIP_Label_b24820e8-223f-4ed2-bd95-81c83f641284_SetDate">
    <vt:lpwstr>2023-04-03T17:11:38Z</vt:lpwstr>
  </property>
  <property fmtid="{D5CDD505-2E9C-101B-9397-08002B2CF9AE}" pid="6" name="MSIP_Label_b24820e8-223f-4ed2-bd95-81c83f641284_Method">
    <vt:lpwstr>Standard</vt:lpwstr>
  </property>
  <property fmtid="{D5CDD505-2E9C-101B-9397-08002B2CF9AE}" pid="7" name="MSIP_Label_b24820e8-223f-4ed2-bd95-81c83f641284_Name">
    <vt:lpwstr>b24820e8-223f-4ed2-bd95-81c83f641284</vt:lpwstr>
  </property>
  <property fmtid="{D5CDD505-2E9C-101B-9397-08002B2CF9AE}" pid="8" name="MSIP_Label_b24820e8-223f-4ed2-bd95-81c83f641284_SiteId">
    <vt:lpwstr>3cbcc3d3-094d-4006-9849-0d11d61f484d</vt:lpwstr>
  </property>
  <property fmtid="{D5CDD505-2E9C-101B-9397-08002B2CF9AE}" pid="9" name="MSIP_Label_b24820e8-223f-4ed2-bd95-81c83f641284_ActionId">
    <vt:lpwstr>29cd9cee-92bb-4ab8-b384-aebfd251f2b4</vt:lpwstr>
  </property>
  <property fmtid="{D5CDD505-2E9C-101B-9397-08002B2CF9AE}" pid="10" name="MSIP_Label_b24820e8-223f-4ed2-bd95-81c83f641284_ContentBits">
    <vt:lpwstr>0</vt:lpwstr>
  </property>
</Properties>
</file>